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5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7.xml" ContentType="application/vnd.openxmlformats-officedocument.presentationml.slide+xml"/>
  <Override PartName="/ppt/slides/slide26.xml" ContentType="application/vnd.openxmlformats-officedocument.presentationml.slide+xml"/>
  <Override PartName="/ppt/slides/slide1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5.xml" ContentType="application/vnd.openxmlformats-officedocument.presentationml.slide+xml"/>
  <Override PartName="/ppt/slides/slide2.xml" ContentType="application/vnd.openxmlformats-officedocument.presentationml.slide+xml"/>
  <Override PartName="/ppt/slideLayouts/slideLayout35.xml" ContentType="application/vnd.openxmlformats-officedocument.presentationml.slideLayout+xml"/>
  <Override PartName="/ppt/notesSlides/notesSlide5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slideLayouts/slideLayout36.xml" ContentType="application/vnd.openxmlformats-officedocument.presentationml.slideLayout+xml"/>
  <Override PartName="/ppt/slideLayouts/slideLayout33.xml" ContentType="application/vnd.openxmlformats-officedocument.presentationml.slideLayout+xml"/>
  <Override PartName="/ppt/notesSlides/notesSlide6.xml" ContentType="application/vnd.openxmlformats-officedocument.presentationml.notesSlide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21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18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25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14.xml" ContentType="application/vnd.openxmlformats-officedocument.presentationml.notesSlide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20.xml" ContentType="application/vnd.openxmlformats-officedocument.presentationml.slideLayout+xml"/>
  <Override PartName="/ppt/slideLayouts/slideLayout18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3.xml" ContentType="application/vnd.openxmlformats-officedocument.theme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8.xml" ContentType="application/vnd.openxmlformats-officedocument.presentationml.tags+xml"/>
  <Override PartName="/ppt/tags/tag24.xml" ContentType="application/vnd.openxmlformats-officedocument.presentationml.tags+xml"/>
  <Override PartName="/ppt/tags/tag44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51.xml" ContentType="application/vnd.openxmlformats-officedocument.presentationml.tags+xml"/>
  <Override PartName="/ppt/tags/tag33.xml" ContentType="application/vnd.openxmlformats-officedocument.presentationml.tags+xml"/>
  <Override PartName="/ppt/tags/tag10.xml" ContentType="application/vnd.openxmlformats-officedocument.presentationml.tags+xml"/>
  <Override PartName="/ppt/tags/tag28.xml" ContentType="application/vnd.openxmlformats-officedocument.presentationml.tags+xml"/>
  <Override PartName="/ppt/tags/tag9.xml" ContentType="application/vnd.openxmlformats-officedocument.presentationml.tags+xml"/>
  <Override PartName="/ppt/tags/tag7.xml" ContentType="application/vnd.openxmlformats-officedocument.presentationml.tags+xml"/>
  <Override PartName="/ppt/tags/tag50.xml" ContentType="application/vnd.openxmlformats-officedocument.presentationml.tags+xml"/>
  <Override PartName="/ppt/tags/tag49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46.xml" ContentType="application/vnd.openxmlformats-officedocument.presentationml.tags+xml"/>
  <Override PartName="/ppt/tags/tag1.xml" ContentType="application/vnd.openxmlformats-officedocument.presentationml.tags+xml"/>
  <Override PartName="/ppt/tags/tag47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6.xml" ContentType="application/vnd.openxmlformats-officedocument.presentationml.tags+xml"/>
  <Override PartName="/ppt/tags/tag45.xml" ContentType="application/vnd.openxmlformats-officedocument.presentationml.tags+xml"/>
  <Override PartName="/ppt/tags/tag11.xml" ContentType="application/vnd.openxmlformats-officedocument.presentationml.tags+xml"/>
  <Override PartName="/ppt/tags/tag5.xml" ContentType="application/vnd.openxmlformats-officedocument.presentationml.tags+xml"/>
  <Override PartName="/ppt/tags/tag48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docProps/custom.xml" ContentType="application/vnd.openxmlformats-officedocument.custom-properties+xml"/>
  <Override PartName="/ppt/tags/tag56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55.xml" ContentType="application/vnd.openxmlformats-officedocument.presentationml.tags+xml"/>
  <Override PartName="/ppt/tags/tag40.xml" ContentType="application/vnd.openxmlformats-officedocument.presentationml.tags+xml"/>
  <Override PartName="/ppt/tags/tag36.xml" ContentType="application/vnd.openxmlformats-officedocument.presentationml.tags+xml"/>
  <Override PartName="/ppt/tags/tag34.xml" ContentType="application/vnd.openxmlformats-officedocument.presentationml.tags+xml"/>
  <Override PartName="/ppt/tags/tag21.xml" ContentType="application/vnd.openxmlformats-officedocument.presentationml.tags+xml"/>
  <Override PartName="/ppt/tags/tag25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23.xml" ContentType="application/vnd.openxmlformats-officedocument.presentationml.tags+xml"/>
  <Override PartName="/ppt/tags/tag58.xml" ContentType="application/vnd.openxmlformats-officedocument.presentationml.tags+xml"/>
  <Override PartName="/ppt/tags/tag22.xml" ContentType="application/vnd.openxmlformats-officedocument.presentationml.tags+xml"/>
  <Override PartName="/ppt/tags/tag57.xml" ContentType="application/vnd.openxmlformats-officedocument.presentationml.tags+xml"/>
  <Override PartName="/ppt/tags/tag54.xml" ContentType="application/vnd.openxmlformats-officedocument.presentationml.tags+xml"/>
  <Override PartName="/ppt/tags/tag35.xml" ContentType="application/vnd.openxmlformats-officedocument.presentationml.tags+xml"/>
  <Override PartName="/ppt/tags/tag18.xml" ContentType="application/vnd.openxmlformats-officedocument.presentationml.tags+xml"/>
  <Override PartName="/ppt/tags/tag15.xml" ContentType="application/vnd.openxmlformats-officedocument.presentationml.tags+xml"/>
  <Override PartName="/ppt/tags/tag27.xml" ContentType="application/vnd.openxmlformats-officedocument.presentationml.tags+xml"/>
  <Override PartName="/ppt/tags/tag52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39.xml" ContentType="application/vnd.openxmlformats-officedocument.presentationml.tags+xml"/>
  <Override PartName="/ppt/tags/tag14.xml" ContentType="application/vnd.openxmlformats-officedocument.presentationml.tags+xml"/>
  <Override PartName="/ppt/tags/tag1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26.xml" ContentType="application/vnd.openxmlformats-officedocument.presentationml.tags+xml"/>
  <Override PartName="/ppt/tags/tag53.xml" ContentType="application/vnd.openxmlformats-officedocument.presentationml.tags+xml"/>
  <Override PartName="/ppt/tags/tag1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04" r:id="rId2"/>
    <p:sldMasterId id="2147483716" r:id="rId3"/>
  </p:sldMasterIdLst>
  <p:notesMasterIdLst>
    <p:notesMasterId r:id="rId31"/>
  </p:notesMasterIdLst>
  <p:handoutMasterIdLst>
    <p:handoutMasterId r:id="rId32"/>
  </p:handoutMasterIdLst>
  <p:sldIdLst>
    <p:sldId id="452" r:id="rId4"/>
    <p:sldId id="2147472666" r:id="rId5"/>
    <p:sldId id="2147472597" r:id="rId6"/>
    <p:sldId id="2147472598" r:id="rId7"/>
    <p:sldId id="2147472667" r:id="rId8"/>
    <p:sldId id="2147472668" r:id="rId9"/>
    <p:sldId id="2147472669" r:id="rId10"/>
    <p:sldId id="2147472670" r:id="rId11"/>
    <p:sldId id="2147472671" r:id="rId12"/>
    <p:sldId id="2147472672" r:id="rId13"/>
    <p:sldId id="2147472673" r:id="rId14"/>
    <p:sldId id="2147472674" r:id="rId15"/>
    <p:sldId id="2147472675" r:id="rId16"/>
    <p:sldId id="2147472676" r:id="rId17"/>
    <p:sldId id="2147472677" r:id="rId18"/>
    <p:sldId id="2147472678" r:id="rId19"/>
    <p:sldId id="2147472679" r:id="rId20"/>
    <p:sldId id="2147472680" r:id="rId21"/>
    <p:sldId id="2147472681" r:id="rId22"/>
    <p:sldId id="2147472682" r:id="rId23"/>
    <p:sldId id="2147472683" r:id="rId24"/>
    <p:sldId id="2147472684" r:id="rId25"/>
    <p:sldId id="2147472685" r:id="rId26"/>
    <p:sldId id="2147472686" r:id="rId27"/>
    <p:sldId id="2147472687" r:id="rId28"/>
    <p:sldId id="2147472688" r:id="rId29"/>
    <p:sldId id="2147472689" r:id="rId30"/>
  </p:sldIdLst>
  <p:sldSz cx="12192000" cy="6858000"/>
  <p:notesSz cx="6858000" cy="9144000"/>
  <p:custDataLst>
    <p:tags r:id="rId33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3DOOaqWM8YPjgXPO6YIG7Q==" hashData="ofvhsb+mWwrLSoMP0kvwY/YkmKmOj8ltI2qs5k4M1TJhtih9uMN0Ti8DK5OanSb3ilq0PXKAt5tDYc0RNpZH/g=="/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C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668647-0E4E-4D51-9C0E-13926B4FF229}" v="3059" dt="2023-07-13T15:51:45.4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8603FDC-E32A-4AB5-989C-0864C3EAD2B8}" styleName="Estilo temático 2 - Énfasis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74" autoAdjust="0"/>
    <p:restoredTop sz="87146" autoAdjust="0"/>
  </p:normalViewPr>
  <p:slideViewPr>
    <p:cSldViewPr snapToGrid="0">
      <p:cViewPr varScale="1">
        <p:scale>
          <a:sx n="67" d="100"/>
          <a:sy n="67" d="100"/>
        </p:scale>
        <p:origin x="700" y="56"/>
      </p:cViewPr>
      <p:guideLst/>
    </p:cSldViewPr>
  </p:slideViewPr>
  <p:outlineViewPr>
    <p:cViewPr>
      <p:scale>
        <a:sx n="33" d="100"/>
        <a:sy n="33" d="100"/>
      </p:scale>
      <p:origin x="0" y="-2743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279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microsoft.com/office/2016/11/relationships/changesInfo" Target="changesInfos/changesInfo1.xml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42" Type="http://schemas.openxmlformats.org/officeDocument/2006/relationships/customXml" Target="../customXml/item3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40" Type="http://schemas.openxmlformats.org/officeDocument/2006/relationships/customXml" Target="../customXml/item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gs" Target="tags/tag1.xml"/><Relationship Id="rId38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ito Cortés, Sofía Constanza" userId="bc780694-5ad3-4b43-9d08-68ceeeeb3a92" providerId="ADAL" clId="{78668647-0E4E-4D51-9C0E-13926B4FF229}"/>
    <pc:docChg chg="undo custSel addSld delSld modSld sldOrd modMainMaster modSection replTag">
      <pc:chgData name="Brito Cortés, Sofía Constanza" userId="bc780694-5ad3-4b43-9d08-68ceeeeb3a92" providerId="ADAL" clId="{78668647-0E4E-4D51-9C0E-13926B4FF229}" dt="2023-07-13T15:51:45.458" v="5563" actId="20578"/>
      <pc:docMkLst>
        <pc:docMk/>
      </pc:docMkLst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0" sldId="279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0" sldId="279"/>
            <ac:spMk id="2" creationId="{2E7E7DBF-90A8-1A51-8FCC-DD65465B3770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0" sldId="28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0" sldId="284"/>
            <ac:spMk id="2" creationId="{2DC4924F-8F1B-95D2-8254-0929E8061B5D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571665260" sldId="35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571665260" sldId="352"/>
            <ac:spMk id="2" creationId="{5255C6D4-96B0-F707-5058-20B797FA8DC3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198807975" sldId="35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198807975" sldId="354"/>
            <ac:spMk id="3" creationId="{55509333-A291-D808-C4DC-737442D05B26}"/>
          </ac:spMkLst>
        </pc:spChg>
      </pc:sldChg>
      <pc:sldChg chg="addSp delSp modSp mod ord">
        <pc:chgData name="Brito Cortés, Sofía Constanza" userId="bc780694-5ad3-4b43-9d08-68ceeeeb3a92" providerId="ADAL" clId="{78668647-0E4E-4D51-9C0E-13926B4FF229}" dt="2023-07-13T15:01:03.462" v="5373" actId="14100"/>
        <pc:sldMkLst>
          <pc:docMk/>
          <pc:sldMk cId="667833205" sldId="459"/>
        </pc:sldMkLst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" creationId="{461C20CF-53C1-7E43-826E-18C48783904D}"/>
          </ac:spMkLst>
        </pc:spChg>
        <pc:spChg chg="mod">
          <ac:chgData name="Brito Cortés, Sofía Constanza" userId="bc780694-5ad3-4b43-9d08-68ceeeeb3a92" providerId="ADAL" clId="{78668647-0E4E-4D51-9C0E-13926B4FF229}" dt="2023-07-13T15:00:49.155" v="5371" actId="14100"/>
          <ac:spMkLst>
            <pc:docMk/>
            <pc:sldMk cId="667833205" sldId="459"/>
            <ac:spMk id="5" creationId="{00000000-0000-0000-0000-000000000000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6" creationId="{1D52B184-AC18-FBFE-23A8-2AD3A7751219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7" creationId="{D9608A01-CBA6-877D-1BFB-D1352FFD67A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8" creationId="{99F78117-3F32-8A2B-7920-69DE756448D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9" creationId="{69C3A41C-F820-0352-6504-8553680263BB}"/>
          </ac:spMkLst>
        </pc:spChg>
        <pc:spChg chg="mod">
          <ac:chgData name="Brito Cortés, Sofía Constanza" userId="bc780694-5ad3-4b43-9d08-68ceeeeb3a92" providerId="ADAL" clId="{78668647-0E4E-4D51-9C0E-13926B4FF229}" dt="2023-07-13T15:01:03.462" v="5373" actId="14100"/>
          <ac:spMkLst>
            <pc:docMk/>
            <pc:sldMk cId="667833205" sldId="459"/>
            <ac:spMk id="10" creationId="{3CBEAD6F-F1C1-7AAF-A62F-652C6D10E52E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66" v="5162"/>
          <ac:spMkLst>
            <pc:docMk/>
            <pc:sldMk cId="667833205" sldId="459"/>
            <ac:spMk id="11" creationId="{93411294-A0AB-1D70-8401-DD5F3C80077D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69" v="5166"/>
          <ac:spMkLst>
            <pc:docMk/>
            <pc:sldMk cId="667833205" sldId="459"/>
            <ac:spMk id="12" creationId="{A4517A2C-1723-6B04-2F98-D27B962CAA2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3" v="5252" actId="948"/>
          <ac:spMkLst>
            <pc:docMk/>
            <pc:sldMk cId="667833205" sldId="459"/>
            <ac:spMk id="13" creationId="{FD41E0F0-A19C-3FCE-A043-FB0037773CD7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55" v="5290" actId="948"/>
          <ac:spMkLst>
            <pc:docMk/>
            <pc:sldMk cId="667833205" sldId="459"/>
            <ac:spMk id="14" creationId="{0BBD1A27-BDEE-32A4-C741-FFD9CD75AFA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60" v="5293" actId="948"/>
          <ac:spMkLst>
            <pc:docMk/>
            <pc:sldMk cId="667833205" sldId="459"/>
            <ac:spMk id="15" creationId="{7C9E39AD-1030-B34B-2D19-5BAF5EF6025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64" v="5296" actId="948"/>
          <ac:spMkLst>
            <pc:docMk/>
            <pc:sldMk cId="667833205" sldId="459"/>
            <ac:spMk id="16" creationId="{F87B1D46-0C3A-B38A-DA8D-16C02E4C68A9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4" v="5309"/>
          <ac:spMkLst>
            <pc:docMk/>
            <pc:sldMk cId="667833205" sldId="459"/>
            <ac:spMk id="27" creationId="{22EA5A39-DEAA-7CAC-45B0-C1D0EE195061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93" v="5310"/>
          <ac:spMkLst>
            <pc:docMk/>
            <pc:sldMk cId="667833205" sldId="459"/>
            <ac:spMk id="28" creationId="{510A7E9A-4606-047E-96CC-9F225DC8CDA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0" v="5169"/>
          <ac:spMkLst>
            <pc:docMk/>
            <pc:sldMk cId="667833205" sldId="459"/>
            <ac:spMk id="29" creationId="{80D71C27-2B06-41BA-779A-D59AA7A4E70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4" v="5177"/>
          <ac:spMkLst>
            <pc:docMk/>
            <pc:sldMk cId="667833205" sldId="459"/>
            <ac:spMk id="30" creationId="{F59D7F4F-91FD-1FAC-5AC9-3D29E22A0D82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1" creationId="{E7B1E926-FA9E-4D00-B6E5-0FA560C3E887}"/>
          </ac:spMkLst>
        </pc:spChg>
        <pc:spChg chg="del">
          <ac:chgData name="Brito Cortés, Sofía Constanza" userId="bc780694-5ad3-4b43-9d08-68ceeeeb3a92" providerId="ADAL" clId="{78668647-0E4E-4D51-9C0E-13926B4FF229}" dt="2023-07-13T15:00:21.461" v="5156" actId="478"/>
          <ac:spMkLst>
            <pc:docMk/>
            <pc:sldMk cId="667833205" sldId="459"/>
            <ac:spMk id="32" creationId="{26091BE0-EEE1-4645-83BF-399B5535257F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8" v="5183"/>
          <ac:spMkLst>
            <pc:docMk/>
            <pc:sldMk cId="667833205" sldId="459"/>
            <ac:spMk id="33" creationId="{431DF274-4CD1-252C-6303-58013AE0AAD0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4" v="5175"/>
          <ac:spMkLst>
            <pc:docMk/>
            <pc:sldMk cId="667833205" sldId="459"/>
            <ac:spMk id="34" creationId="{586054D6-9B13-F1DD-B781-58389C3E323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7" v="5181"/>
          <ac:spMkLst>
            <pc:docMk/>
            <pc:sldMk cId="667833205" sldId="459"/>
            <ac:spMk id="35" creationId="{B89FA94E-9E64-73BB-E1DC-9031167675DE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2" v="5173"/>
          <ac:spMkLst>
            <pc:docMk/>
            <pc:sldMk cId="667833205" sldId="459"/>
            <ac:spMk id="36" creationId="{1446A096-992B-4496-2C62-5BD58392A2D4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83" v="5189"/>
          <ac:spMkLst>
            <pc:docMk/>
            <pc:sldMk cId="667833205" sldId="459"/>
            <ac:spMk id="37" creationId="{4D03E464-D20F-EEF9-3A94-0FD1A9C72EBA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5" v="5179"/>
          <ac:spMkLst>
            <pc:docMk/>
            <pc:sldMk cId="667833205" sldId="459"/>
            <ac:spMk id="38" creationId="{84098658-BD5F-CCAB-0328-F405E00FE7A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71" v="5171"/>
          <ac:spMkLst>
            <pc:docMk/>
            <pc:sldMk cId="667833205" sldId="459"/>
            <ac:spMk id="39" creationId="{E8521B0E-9D76-C45C-5CB2-C79A875E2F2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481" v="5187"/>
          <ac:spMkLst>
            <pc:docMk/>
            <pc:sldMk cId="667833205" sldId="459"/>
            <ac:spMk id="40" creationId="{CB2C9B9E-4664-DA04-3408-FB8158F0E3A1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7" v="5305" actId="948"/>
          <ac:spMkLst>
            <pc:docMk/>
            <pc:sldMk cId="667833205" sldId="459"/>
            <ac:spMk id="41" creationId="{30B729CC-3B6C-76E8-B9F2-6D290DE663C6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5" v="5246"/>
          <ac:spMkLst>
            <pc:docMk/>
            <pc:sldMk cId="667833205" sldId="459"/>
            <ac:spMk id="42" creationId="{274E3E42-5123-6B34-B0AC-EDEA2D127D1A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5" v="5303" actId="948"/>
          <ac:spMkLst>
            <pc:docMk/>
            <pc:sldMk cId="667833205" sldId="459"/>
            <ac:spMk id="43" creationId="{156A84EA-1C0C-291F-0AC0-A00D9D6A4453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9" v="5249"/>
          <ac:spMkLst>
            <pc:docMk/>
            <pc:sldMk cId="667833205" sldId="459"/>
            <ac:spMk id="44" creationId="{366DC784-F481-4388-5CC9-4AF3F2CAADA5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7" v="5248"/>
          <ac:spMkLst>
            <pc:docMk/>
            <pc:sldMk cId="667833205" sldId="459"/>
            <ac:spMk id="45" creationId="{3AEA117D-633C-3A66-C4BF-F295C66D6BE5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0" v="5250"/>
          <ac:spMkLst>
            <pc:docMk/>
            <pc:sldMk cId="667833205" sldId="459"/>
            <ac:spMk id="46" creationId="{8D87EEBC-C628-933C-01A1-AF0C4A07C51C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3" v="5245"/>
          <ac:spMkLst>
            <pc:docMk/>
            <pc:sldMk cId="667833205" sldId="459"/>
            <ac:spMk id="47" creationId="{A37E014F-0BBB-265D-C044-591B3CC924BB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0" v="5307" actId="948"/>
          <ac:spMkLst>
            <pc:docMk/>
            <pc:sldMk cId="667833205" sldId="459"/>
            <ac:spMk id="48" creationId="{CD766343-FEF9-62DA-E613-FF39D5F55DF3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11" v="5251"/>
          <ac:spMkLst>
            <pc:docMk/>
            <pc:sldMk cId="667833205" sldId="459"/>
            <ac:spMk id="49" creationId="{8CCF9343-BC87-0258-125C-E7561D9DEE5C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06" v="5247"/>
          <ac:spMkLst>
            <pc:docMk/>
            <pc:sldMk cId="667833205" sldId="459"/>
            <ac:spMk id="50" creationId="{DFF1BFD7-65EA-C807-2045-F243E52D4F17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4" v="5302" actId="948"/>
          <ac:spMkLst>
            <pc:docMk/>
            <pc:sldMk cId="667833205" sldId="459"/>
            <ac:spMk id="51" creationId="{3D848D6D-8105-2FF3-E6DF-EBCBE901E0E8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9" v="5306" actId="948"/>
          <ac:spMkLst>
            <pc:docMk/>
            <pc:sldMk cId="667833205" sldId="459"/>
            <ac:spMk id="52" creationId="{74A610E6-2F48-EF91-1FB0-8424198F7C60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6" v="5304" actId="948"/>
          <ac:spMkLst>
            <pc:docMk/>
            <pc:sldMk cId="667833205" sldId="459"/>
            <ac:spMk id="53" creationId="{6F3C6199-6CEF-1EA8-71A5-890578BD4512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73" v="5301" actId="948"/>
          <ac:spMkLst>
            <pc:docMk/>
            <pc:sldMk cId="667833205" sldId="459"/>
            <ac:spMk id="54" creationId="{105DACB6-6A95-D304-722F-16F32897AE7F}"/>
          </ac:spMkLst>
        </pc:spChg>
        <pc:spChg chg="add mod replST">
          <ac:chgData name="Brito Cortés, Sofía Constanza" userId="bc780694-5ad3-4b43-9d08-68ceeeeb3a92" providerId="ADAL" clId="{78668647-0E4E-4D51-9C0E-13926B4FF229}" dt="2023-07-13T15:00:22.682" v="5308" actId="948"/>
          <ac:spMkLst>
            <pc:docMk/>
            <pc:sldMk cId="667833205" sldId="459"/>
            <ac:spMk id="55" creationId="{2B60AC59-0734-4252-7CF8-92206793DBE8}"/>
          </ac:spMkLst>
        </pc:spChg>
        <pc:spChg chg="add del mod modVis">
          <ac:chgData name="Brito Cortés, Sofía Constanza" userId="bc780694-5ad3-4b43-9d08-68ceeeeb3a92" providerId="ADAL" clId="{78668647-0E4E-4D51-9C0E-13926B4FF229}" dt="2023-07-13T15:00:22.699" v="5314"/>
          <ac:spMkLst>
            <pc:docMk/>
            <pc:sldMk cId="667833205" sldId="459"/>
            <ac:spMk id="56" creationId="{F9B68233-E322-8B90-78B0-DDA118AC5362}"/>
          </ac:spMkLst>
        </pc:spChg>
        <pc:spChg chg="add del mod">
          <ac:chgData name="Brito Cortés, Sofía Constanza" userId="bc780694-5ad3-4b43-9d08-68ceeeeb3a92" providerId="ADAL" clId="{78668647-0E4E-4D51-9C0E-13926B4FF229}" dt="2023-07-13T15:00:52.652" v="5372" actId="478"/>
          <ac:spMkLst>
            <pc:docMk/>
            <pc:sldMk cId="667833205" sldId="459"/>
            <ac:spMk id="57" creationId="{AB216005-7E20-21F2-E15B-25D3B51ECB18}"/>
          </ac:spMkLst>
        </pc:spChg>
        <pc:graphicFrameChg chg="mod">
          <ac:chgData name="Brito Cortés, Sofía Constanza" userId="bc780694-5ad3-4b43-9d08-68ceeeeb3a92" providerId="ADAL" clId="{78668647-0E4E-4D51-9C0E-13926B4FF229}" dt="2023-07-13T15:00:22.703" v="5316"/>
          <ac:graphicFrameMkLst>
            <pc:docMk/>
            <pc:sldMk cId="667833205" sldId="459"/>
            <ac:graphicFrameMk id="4" creationId="{97AD468B-D6B0-16E5-4AC1-379B1ACC973D}"/>
          </ac:graphicFrameMkLst>
        </pc:graphicFrameChg>
        <pc:cxnChg chg="add mod replST">
          <ac:chgData name="Brito Cortés, Sofía Constanza" userId="bc780694-5ad3-4b43-9d08-68ceeeeb3a92" providerId="ADAL" clId="{78668647-0E4E-4D51-9C0E-13926B4FF229}" dt="2023-07-13T15:00:22.485" v="5193"/>
          <ac:cxnSpMkLst>
            <pc:docMk/>
            <pc:sldMk cId="667833205" sldId="459"/>
            <ac:cxnSpMk id="17" creationId="{4249D4E4-E892-9617-46B7-4D7A42EED291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5" v="5192"/>
          <ac:cxnSpMkLst>
            <pc:docMk/>
            <pc:sldMk cId="667833205" sldId="459"/>
            <ac:cxnSpMk id="18" creationId="{89FDFF7C-FDD1-5A20-D8B9-C002C769B099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4"/>
          <ac:cxnSpMkLst>
            <pc:docMk/>
            <pc:sldMk cId="667833205" sldId="459"/>
            <ac:cxnSpMk id="19" creationId="{4B70D983-845D-90CD-2F45-A8DD6DBE1E2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8" v="5199"/>
          <ac:cxnSpMkLst>
            <pc:docMk/>
            <pc:sldMk cId="667833205" sldId="459"/>
            <ac:cxnSpMk id="20" creationId="{DFE7223B-CC01-6C21-62E0-506D4A2D45BF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5"/>
          <ac:cxnSpMkLst>
            <pc:docMk/>
            <pc:sldMk cId="667833205" sldId="459"/>
            <ac:cxnSpMk id="21" creationId="{B89D5DDC-0B9C-D182-00CB-F56D29385A00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7" v="5197"/>
          <ac:cxnSpMkLst>
            <pc:docMk/>
            <pc:sldMk cId="667833205" sldId="459"/>
            <ac:cxnSpMk id="22" creationId="{189B1367-0725-71F2-CE0A-B3303F28EB98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8" v="5200"/>
          <ac:cxnSpMkLst>
            <pc:docMk/>
            <pc:sldMk cId="667833205" sldId="459"/>
            <ac:cxnSpMk id="23" creationId="{1108F18C-1543-2149-F275-F8E00CDA4C1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70" v="5168"/>
          <ac:cxnSpMkLst>
            <pc:docMk/>
            <pc:sldMk cId="667833205" sldId="459"/>
            <ac:cxnSpMk id="24" creationId="{329F7A4A-EE5A-B1B4-86EA-26C5A308B724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7" v="5198"/>
          <ac:cxnSpMkLst>
            <pc:docMk/>
            <pc:sldMk cId="667833205" sldId="459"/>
            <ac:cxnSpMk id="25" creationId="{AC6C15CA-7765-6E5D-28EA-450E6183D05C}"/>
          </ac:cxnSpMkLst>
        </pc:cxnChg>
        <pc:cxnChg chg="add mod replST">
          <ac:chgData name="Brito Cortés, Sofía Constanza" userId="bc780694-5ad3-4b43-9d08-68ceeeeb3a92" providerId="ADAL" clId="{78668647-0E4E-4D51-9C0E-13926B4FF229}" dt="2023-07-13T15:00:22.486" v="5196"/>
          <ac:cxnSpMkLst>
            <pc:docMk/>
            <pc:sldMk cId="667833205" sldId="459"/>
            <ac:cxnSpMk id="26" creationId="{4CE9DB7E-D55F-8832-3D63-7E63D1653DA8}"/>
          </ac:cxnSpMkLst>
        </pc:cxnChg>
      </pc:sldChg>
      <pc:sldChg chg="addSp delSp modSp mod">
        <pc:chgData name="Brito Cortés, Sofía Constanza" userId="bc780694-5ad3-4b43-9d08-68ceeeeb3a92" providerId="ADAL" clId="{78668647-0E4E-4D51-9C0E-13926B4FF229}" dt="2023-07-13T14:58:09.449" v="5085" actId="478"/>
        <pc:sldMkLst>
          <pc:docMk/>
          <pc:sldMk cId="2049217080" sldId="477"/>
        </pc:sldMkLst>
        <pc:spChg chg="mod">
          <ac:chgData name="Brito Cortés, Sofía Constanza" userId="bc780694-5ad3-4b43-9d08-68ceeeeb3a92" providerId="ADAL" clId="{78668647-0E4E-4D51-9C0E-13926B4FF229}" dt="2023-07-13T14:57:56.957" v="5083" actId="14100"/>
          <ac:spMkLst>
            <pc:docMk/>
            <pc:sldMk cId="2049217080" sldId="477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8:09.449" v="5085" actId="478"/>
          <ac:spMkLst>
            <pc:docMk/>
            <pc:sldMk cId="2049217080" sldId="477"/>
            <ac:spMk id="4" creationId="{23C3A626-0916-B1B7-1E06-DA90AD79B57D}"/>
          </ac:spMkLst>
        </pc:spChg>
        <pc:spChg chg="mod">
          <ac:chgData name="Brito Cortés, Sofía Constanza" userId="bc780694-5ad3-4b43-9d08-68ceeeeb3a92" providerId="ADAL" clId="{78668647-0E4E-4D51-9C0E-13926B4FF229}" dt="2023-07-13T14:58:02.195" v="5084" actId="14100"/>
          <ac:spMkLst>
            <pc:docMk/>
            <pc:sldMk cId="2049217080" sldId="477"/>
            <ac:spMk id="5" creationId="{FD28D9B7-6B26-40CD-535E-6FCA0C7A40C7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8:33.146" v="5556" actId="478"/>
        <pc:sldMkLst>
          <pc:docMk/>
          <pc:sldMk cId="3263830898" sldId="484"/>
        </pc:sldMkLst>
        <pc:spChg chg="mod">
          <ac:chgData name="Brito Cortés, Sofía Constanza" userId="bc780694-5ad3-4b43-9d08-68ceeeeb3a92" providerId="ADAL" clId="{78668647-0E4E-4D51-9C0E-13926B4FF229}" dt="2023-07-13T14:57:31.479" v="5080" actId="14100"/>
          <ac:spMkLst>
            <pc:docMk/>
            <pc:sldMk cId="3263830898" sldId="484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5:43:37.021" v="5551"/>
          <ac:spMkLst>
            <pc:docMk/>
            <pc:sldMk cId="3263830898" sldId="484"/>
            <ac:spMk id="4" creationId="{E86609B8-CD94-4545-E567-FE0CF9B89D2F}"/>
          </ac:spMkLst>
        </pc:spChg>
        <pc:spChg chg="mod">
          <ac:chgData name="Brito Cortés, Sofía Constanza" userId="bc780694-5ad3-4b43-9d08-68ceeeeb3a92" providerId="ADAL" clId="{78668647-0E4E-4D51-9C0E-13926B4FF229}" dt="2023-07-13T14:57:22.631" v="5079" actId="14100"/>
          <ac:spMkLst>
            <pc:docMk/>
            <pc:sldMk cId="3263830898" sldId="484"/>
            <ac:spMk id="20" creationId="{3B0DFADB-6FF9-891F-AB8B-165A9857B5F8}"/>
          </ac:spMkLst>
        </pc:spChg>
        <pc:spChg chg="add del mod">
          <ac:chgData name="Brito Cortés, Sofía Constanza" userId="bc780694-5ad3-4b43-9d08-68ceeeeb3a92" providerId="ADAL" clId="{78668647-0E4E-4D51-9C0E-13926B4FF229}" dt="2023-07-13T15:48:33.146" v="5556" actId="478"/>
          <ac:spMkLst>
            <pc:docMk/>
            <pc:sldMk cId="3263830898" sldId="484"/>
            <ac:spMk id="21" creationId="{95C4B582-A0B7-AE8B-2ACA-E553C26639E3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0:52.042" v="5456" actId="478"/>
        <pc:sldMkLst>
          <pc:docMk/>
          <pc:sldMk cId="2761900561" sldId="504"/>
        </pc:sldMkLst>
        <pc:spChg chg="mod">
          <ac:chgData name="Brito Cortés, Sofía Constanza" userId="bc780694-5ad3-4b43-9d08-68ceeeeb3a92" providerId="ADAL" clId="{78668647-0E4E-4D51-9C0E-13926B4FF229}" dt="2023-07-13T15:31:14.575" v="5431" actId="14100"/>
          <ac:spMkLst>
            <pc:docMk/>
            <pc:sldMk cId="2761900561" sldId="504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5:31:17.683" v="5432" actId="478"/>
          <ac:spMkLst>
            <pc:docMk/>
            <pc:sldMk cId="2761900561" sldId="504"/>
            <ac:spMk id="4" creationId="{34E7A536-A9BE-968D-C24E-8623D085316B}"/>
          </ac:spMkLst>
        </pc:spChg>
        <pc:spChg chg="add del mod">
          <ac:chgData name="Brito Cortés, Sofía Constanza" userId="bc780694-5ad3-4b43-9d08-68ceeeeb3a92" providerId="ADAL" clId="{78668647-0E4E-4D51-9C0E-13926B4FF229}" dt="2023-07-13T15:40:52.042" v="5456" actId="478"/>
          <ac:spMkLst>
            <pc:docMk/>
            <pc:sldMk cId="2761900561" sldId="504"/>
            <ac:spMk id="13" creationId="{B9799D37-9717-2023-7F52-3B1DA999A6D7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35.197" v="5527" actId="14100"/>
        <pc:sldMkLst>
          <pc:docMk/>
          <pc:sldMk cId="1286888167" sldId="537"/>
        </pc:sldMkLst>
        <pc:spChg chg="add del mod">
          <ac:chgData name="Brito Cortés, Sofía Constanza" userId="bc780694-5ad3-4b43-9d08-68ceeeeb3a92" providerId="ADAL" clId="{78668647-0E4E-4D51-9C0E-13926B4FF229}" dt="2023-07-13T15:42:29.351" v="5526" actId="478"/>
          <ac:spMkLst>
            <pc:docMk/>
            <pc:sldMk cId="1286888167" sldId="537"/>
            <ac:spMk id="3" creationId="{90C3E554-CD66-30F8-5A68-6585979EAD93}"/>
          </ac:spMkLst>
        </pc:spChg>
        <pc:spChg chg="mod">
          <ac:chgData name="Brito Cortés, Sofía Constanza" userId="bc780694-5ad3-4b43-9d08-68ceeeeb3a92" providerId="ADAL" clId="{78668647-0E4E-4D51-9C0E-13926B4FF229}" dt="2023-07-13T15:42:35.197" v="5527" actId="14100"/>
          <ac:spMkLst>
            <pc:docMk/>
            <pc:sldMk cId="1286888167" sldId="537"/>
            <ac:spMk id="4" creationId="{CABA5365-DCE8-0064-50B8-66B64BA9DA7B}"/>
          </ac:spMkLst>
        </pc:spChg>
        <pc:spChg chg="mod">
          <ac:chgData name="Brito Cortés, Sofía Constanza" userId="bc780694-5ad3-4b43-9d08-68ceeeeb3a92" providerId="ADAL" clId="{78668647-0E4E-4D51-9C0E-13926B4FF229}" dt="2023-07-13T15:42:21.472" v="5525" actId="14100"/>
          <ac:spMkLst>
            <pc:docMk/>
            <pc:sldMk cId="1286888167" sldId="537"/>
            <ac:spMk id="107" creationId="{00000000-0000-0000-0000-000000000000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54.605" v="5548" actId="478"/>
        <pc:sldMkLst>
          <pc:docMk/>
          <pc:sldMk cId="822483613" sldId="538"/>
        </pc:sldMkLst>
        <pc:spChg chg="mod ord">
          <ac:chgData name="Brito Cortés, Sofía Constanza" userId="bc780694-5ad3-4b43-9d08-68ceeeeb3a92" providerId="ADAL" clId="{78668647-0E4E-4D51-9C0E-13926B4FF229}" dt="2023-07-13T14:49:02.398" v="5021"/>
          <ac:spMkLst>
            <pc:docMk/>
            <pc:sldMk cId="822483613" sldId="538"/>
            <ac:spMk id="2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5:42:51.243" v="5547" actId="14100"/>
          <ac:spMkLst>
            <pc:docMk/>
            <pc:sldMk cId="822483613" sldId="538"/>
            <ac:spMk id="3" creationId="{00000000-0000-0000-0000-00000000000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328" v="1475"/>
          <ac:spMkLst>
            <pc:docMk/>
            <pc:sldMk cId="822483613" sldId="538"/>
            <ac:spMk id="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389" v="1537"/>
          <ac:spMkLst>
            <pc:docMk/>
            <pc:sldMk cId="822483613" sldId="538"/>
            <ac:spMk id="5" creationId="{8EBDBA09-EDD8-FFE9-5AB1-157BBCC9C430}"/>
          </ac:spMkLst>
        </pc:spChg>
        <pc:spChg chg="mod ord">
          <ac:chgData name="Brito Cortés, Sofía Constanza" userId="bc780694-5ad3-4b43-9d08-68ceeeeb3a92" providerId="ADAL" clId="{78668647-0E4E-4D51-9C0E-13926B4FF229}" dt="2023-07-13T14:49:02.397" v="5019"/>
          <ac:spMkLst>
            <pc:docMk/>
            <pc:sldMk cId="822483613" sldId="538"/>
            <ac:spMk id="6" creationId="{31682B9A-6B46-5E2E-2587-48EE870FEDD8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452" v="1596"/>
          <ac:spMkLst>
            <pc:docMk/>
            <pc:sldMk cId="822483613" sldId="538"/>
            <ac:spMk id="7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519" v="1658"/>
          <ac:spMkLst>
            <pc:docMk/>
            <pc:sldMk cId="822483613" sldId="538"/>
            <ac:spMk id="8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586" v="1717"/>
          <ac:spMkLst>
            <pc:docMk/>
            <pc:sldMk cId="822483613" sldId="538"/>
            <ac:spMk id="9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658" v="1779"/>
          <ac:spMkLst>
            <pc:docMk/>
            <pc:sldMk cId="822483613" sldId="538"/>
            <ac:spMk id="10" creationId="{8EBDBA09-EDD8-FFE9-5AB1-157BBCC9C430}"/>
          </ac:spMkLst>
        </pc:spChg>
        <pc:spChg chg="mod">
          <ac:chgData name="Brito Cortés, Sofía Constanza" userId="bc780694-5ad3-4b43-9d08-68ceeeeb3a92" providerId="ADAL" clId="{78668647-0E4E-4D51-9C0E-13926B4FF229}" dt="2023-07-13T14:49:02.405" v="5042"/>
          <ac:spMkLst>
            <pc:docMk/>
            <pc:sldMk cId="822483613" sldId="538"/>
            <ac:spMk id="1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6" v="5043"/>
          <ac:spMkLst>
            <pc:docMk/>
            <pc:sldMk cId="822483613" sldId="538"/>
            <ac:spMk id="12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7" v="5044"/>
          <ac:spMkLst>
            <pc:docMk/>
            <pc:sldMk cId="822483613" sldId="538"/>
            <ac:spMk id="13" creationId="{00000000-0000-0000-0000-00000000000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731" v="1838"/>
          <ac:spMkLst>
            <pc:docMk/>
            <pc:sldMk cId="822483613" sldId="538"/>
            <ac:spMk id="1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804" v="1900"/>
          <ac:spMkLst>
            <pc:docMk/>
            <pc:sldMk cId="822483613" sldId="538"/>
            <ac:spMk id="15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7.955" v="2043"/>
          <ac:spMkLst>
            <pc:docMk/>
            <pc:sldMk cId="822483613" sldId="538"/>
            <ac:spMk id="17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036" v="2105"/>
          <ac:spMkLst>
            <pc:docMk/>
            <pc:sldMk cId="822483613" sldId="538"/>
            <ac:spMk id="19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102" v="2164"/>
          <ac:spMkLst>
            <pc:docMk/>
            <pc:sldMk cId="822483613" sldId="538"/>
            <ac:spMk id="20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177" v="2226"/>
          <ac:spMkLst>
            <pc:docMk/>
            <pc:sldMk cId="822483613" sldId="538"/>
            <ac:spMk id="21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245" v="2285"/>
          <ac:spMkLst>
            <pc:docMk/>
            <pc:sldMk cId="822483613" sldId="538"/>
            <ac:spMk id="22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328" v="2347"/>
          <ac:spMkLst>
            <pc:docMk/>
            <pc:sldMk cId="822483613" sldId="538"/>
            <ac:spMk id="23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400" v="2406"/>
          <ac:spMkLst>
            <pc:docMk/>
            <pc:sldMk cId="822483613" sldId="538"/>
            <ac:spMk id="24" creationId="{8EBDBA09-EDD8-FFE9-5AB1-157BBCC9C430}"/>
          </ac:spMkLst>
        </pc:spChg>
        <pc:spChg chg="add del mod replST">
          <ac:chgData name="Brito Cortés, Sofía Constanza" userId="bc780694-5ad3-4b43-9d08-68ceeeeb3a92" providerId="ADAL" clId="{78668647-0E4E-4D51-9C0E-13926B4FF229}" dt="2023-07-13T14:36:08.487" v="2468"/>
          <ac:spMkLst>
            <pc:docMk/>
            <pc:sldMk cId="822483613" sldId="538"/>
            <ac:spMk id="25" creationId="{8EBDBA09-EDD8-FFE9-5AB1-157BBCC9C430}"/>
          </ac:spMkLst>
        </pc:spChg>
        <pc:spChg chg="add del mod">
          <ac:chgData name="Brito Cortés, Sofía Constanza" userId="bc780694-5ad3-4b43-9d08-68ceeeeb3a92" providerId="ADAL" clId="{78668647-0E4E-4D51-9C0E-13926B4FF229}" dt="2023-07-13T15:42:54.605" v="5548" actId="478"/>
          <ac:spMkLst>
            <pc:docMk/>
            <pc:sldMk cId="822483613" sldId="538"/>
            <ac:spMk id="28" creationId="{66656BAC-09AE-377C-8AA6-534AF9B479E6}"/>
          </ac:spMkLst>
        </pc:spChg>
        <pc:spChg chg="mod">
          <ac:chgData name="Brito Cortés, Sofía Constanza" userId="bc780694-5ad3-4b43-9d08-68ceeeeb3a92" providerId="ADAL" clId="{78668647-0E4E-4D51-9C0E-13926B4FF229}" dt="2023-07-13T14:49:02.401" v="5031"/>
          <ac:spMkLst>
            <pc:docMk/>
            <pc:sldMk cId="822483613" sldId="538"/>
            <ac:spMk id="58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1" v="5030"/>
          <ac:spMkLst>
            <pc:docMk/>
            <pc:sldMk cId="822483613" sldId="538"/>
            <ac:spMk id="59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2" v="5033"/>
          <ac:spMkLst>
            <pc:docMk/>
            <pc:sldMk cId="822483613" sldId="538"/>
            <ac:spMk id="60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3" v="5035"/>
          <ac:spMkLst>
            <pc:docMk/>
            <pc:sldMk cId="822483613" sldId="538"/>
            <ac:spMk id="6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0" v="5027"/>
          <ac:spMkLst>
            <pc:docMk/>
            <pc:sldMk cId="822483613" sldId="538"/>
            <ac:spMk id="62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399" v="5026"/>
          <ac:spMkLst>
            <pc:docMk/>
            <pc:sldMk cId="822483613" sldId="538"/>
            <ac:spMk id="6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0" v="5028"/>
          <ac:spMkLst>
            <pc:docMk/>
            <pc:sldMk cId="822483613" sldId="538"/>
            <ac:spMk id="64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3" v="5036"/>
          <ac:spMkLst>
            <pc:docMk/>
            <pc:sldMk cId="822483613" sldId="538"/>
            <ac:spMk id="65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4" v="5038"/>
          <ac:spMkLst>
            <pc:docMk/>
            <pc:sldMk cId="822483613" sldId="538"/>
            <ac:spMk id="6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5" v="5039"/>
          <ac:spMkLst>
            <pc:docMk/>
            <pc:sldMk cId="822483613" sldId="538"/>
            <ac:spMk id="6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2" v="5034"/>
          <ac:spMkLst>
            <pc:docMk/>
            <pc:sldMk cId="822483613" sldId="538"/>
            <ac:spMk id="68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05" v="5041"/>
          <ac:spMkLst>
            <pc:docMk/>
            <pc:sldMk cId="822483613" sldId="538"/>
            <ac:spMk id="69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8" v="5047"/>
          <ac:spMkLst>
            <pc:docMk/>
            <pc:sldMk cId="822483613" sldId="538"/>
            <ac:spMk id="8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5" v="5060"/>
          <ac:spMkLst>
            <pc:docMk/>
            <pc:sldMk cId="822483613" sldId="538"/>
            <ac:spMk id="8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3" v="5056"/>
          <ac:spMkLst>
            <pc:docMk/>
            <pc:sldMk cId="822483613" sldId="538"/>
            <ac:spMk id="8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8" v="5046"/>
          <ac:spMkLst>
            <pc:docMk/>
            <pc:sldMk cId="822483613" sldId="538"/>
            <ac:spMk id="8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5" v="5059"/>
          <ac:spMkLst>
            <pc:docMk/>
            <pc:sldMk cId="822483613" sldId="538"/>
            <ac:spMk id="8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9" v="5048"/>
          <ac:spMkLst>
            <pc:docMk/>
            <pc:sldMk cId="822483613" sldId="538"/>
            <ac:spMk id="91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0" v="5051"/>
          <ac:spMkLst>
            <pc:docMk/>
            <pc:sldMk cId="822483613" sldId="538"/>
            <ac:spMk id="92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09" v="5049"/>
          <ac:spMkLst>
            <pc:docMk/>
            <pc:sldMk cId="822483613" sldId="538"/>
            <ac:spMk id="93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1" v="5052"/>
          <ac:spMkLst>
            <pc:docMk/>
            <pc:sldMk cId="822483613" sldId="538"/>
            <ac:spMk id="94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1" v="5053"/>
          <ac:spMkLst>
            <pc:docMk/>
            <pc:sldMk cId="822483613" sldId="538"/>
            <ac:spMk id="9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0" v="5050"/>
          <ac:spMkLst>
            <pc:docMk/>
            <pc:sldMk cId="822483613" sldId="538"/>
            <ac:spMk id="96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2" v="5054"/>
          <ac:spMkLst>
            <pc:docMk/>
            <pc:sldMk cId="822483613" sldId="538"/>
            <ac:spMk id="97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2" v="5055"/>
          <ac:spMkLst>
            <pc:docMk/>
            <pc:sldMk cId="822483613" sldId="538"/>
            <ac:spMk id="98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4" v="5057"/>
          <ac:spMkLst>
            <pc:docMk/>
            <pc:sldMk cId="822483613" sldId="538"/>
            <ac:spMk id="99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4:49:02.414" v="5058"/>
          <ac:spMkLst>
            <pc:docMk/>
            <pc:sldMk cId="822483613" sldId="538"/>
            <ac:spMk id="100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20" v="5070"/>
          <ac:spMkLst>
            <pc:docMk/>
            <pc:sldMk cId="822483613" sldId="538"/>
            <ac:spMk id="104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16" v="5062"/>
          <ac:spMkLst>
            <pc:docMk/>
            <pc:sldMk cId="822483613" sldId="538"/>
            <ac:spMk id="369" creationId="{00000000-0000-0000-0000-000000000000}"/>
          </ac:spMkLst>
        </pc:spChg>
        <pc:spChg chg="mod ord">
          <ac:chgData name="Brito Cortés, Sofía Constanza" userId="bc780694-5ad3-4b43-9d08-68ceeeeb3a92" providerId="ADAL" clId="{78668647-0E4E-4D51-9C0E-13926B4FF229}" dt="2023-07-13T14:49:02.418" v="5066"/>
          <ac:spMkLst>
            <pc:docMk/>
            <pc:sldMk cId="822483613" sldId="538"/>
            <ac:spMk id="377" creationId="{00000000-0000-0000-0000-000000000000}"/>
          </ac:spMkLst>
        </pc:spChg>
        <pc:graphicFrameChg chg="add del mod replST">
          <ac:chgData name="Brito Cortés, Sofía Constanza" userId="bc780694-5ad3-4b43-9d08-68ceeeeb3a92" providerId="ADAL" clId="{78668647-0E4E-4D51-9C0E-13926B4FF229}" dt="2023-07-13T14:47:22.543" v="3891"/>
          <ac:graphicFrameMkLst>
            <pc:docMk/>
            <pc:sldMk cId="822483613" sldId="538"/>
            <ac:graphicFrameMk id="4" creationId="{A1FA6723-3FA5-639D-B70B-FECF1F41B15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24.206" v="4451"/>
          <ac:graphicFrameMkLst>
            <pc:docMk/>
            <pc:sldMk cId="822483613" sldId="538"/>
            <ac:graphicFrameMk id="5" creationId="{D04E7231-FC5F-E030-EE90-27DB6DEBD9D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30.595" v="3971"/>
          <ac:graphicFrameMkLst>
            <pc:docMk/>
            <pc:sldMk cId="822483613" sldId="538"/>
            <ac:graphicFrameMk id="7" creationId="{7EF4D08E-2BAE-49E4-DA80-B1867205BC1F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38.352" v="4051"/>
          <ac:graphicFrameMkLst>
            <pc:docMk/>
            <pc:sldMk cId="822483613" sldId="538"/>
            <ac:graphicFrameMk id="8" creationId="{8253846C-88D5-BC8A-BA9A-4A075D49261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50.110" v="4131"/>
          <ac:graphicFrameMkLst>
            <pc:docMk/>
            <pc:sldMk cId="822483613" sldId="538"/>
            <ac:graphicFrameMk id="9" creationId="{CB4C7AC7-31FC-3FF0-1B9C-6A748D9C6E1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58.177" v="4211"/>
          <ac:graphicFrameMkLst>
            <pc:docMk/>
            <pc:sldMk cId="822483613" sldId="538"/>
            <ac:graphicFrameMk id="10" creationId="{0D0E3207-09F7-461E-EFF2-57B969A128D1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05.932" v="4291"/>
          <ac:graphicFrameMkLst>
            <pc:docMk/>
            <pc:sldMk cId="822483613" sldId="538"/>
            <ac:graphicFrameMk id="14" creationId="{72328C6A-1FCE-225B-DD16-6C90458D660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14.295" v="4371"/>
          <ac:graphicFrameMkLst>
            <pc:docMk/>
            <pc:sldMk cId="822483613" sldId="538"/>
            <ac:graphicFrameMk id="15" creationId="{02FB3711-B37A-969B-7890-4853B1A900B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08.760" v="3786"/>
          <ac:graphicFrameMkLst>
            <pc:docMk/>
            <pc:sldMk cId="822483613" sldId="538"/>
            <ac:graphicFrameMk id="16" creationId="{2D35AB6A-5568-BCB2-C5DA-A9744A3CB7A1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9:02.399" v="5024"/>
          <ac:graphicFrameMkLst>
            <pc:docMk/>
            <pc:sldMk cId="822483613" sldId="538"/>
            <ac:graphicFrameMk id="17" creationId="{D83A61AB-CF08-8521-FB51-DC3C0B30CFCB}"/>
          </ac:graphicFrameMkLst>
        </pc:graphicFrameChg>
        <pc:graphicFrameChg chg="mod">
          <ac:chgData name="Brito Cortés, Sofía Constanza" userId="bc780694-5ad3-4b43-9d08-68ceeeeb3a92" providerId="ADAL" clId="{78668647-0E4E-4D51-9C0E-13926B4FF229}" dt="2023-07-13T14:49:02.427" v="5074"/>
          <ac:graphicFrameMkLst>
            <pc:docMk/>
            <pc:sldMk cId="822483613" sldId="538"/>
            <ac:graphicFrameMk id="18" creationId="{00000000-0000-0000-0000-00000000000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29.539" v="4531"/>
          <ac:graphicFrameMkLst>
            <pc:docMk/>
            <pc:sldMk cId="822483613" sldId="538"/>
            <ac:graphicFrameMk id="19" creationId="{592DA2E5-64A4-8954-5CA0-DAE373C9CA9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34.524" v="4611"/>
          <ac:graphicFrameMkLst>
            <pc:docMk/>
            <pc:sldMk cId="822483613" sldId="538"/>
            <ac:graphicFrameMk id="20" creationId="{FBEA46A4-9A4E-1324-625F-7E1C2F683942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38.881" v="4691"/>
          <ac:graphicFrameMkLst>
            <pc:docMk/>
            <pc:sldMk cId="822483613" sldId="538"/>
            <ac:graphicFrameMk id="21" creationId="{86558BB5-3E05-2DFF-DF82-194F4FF3486C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46.054" v="4771"/>
          <ac:graphicFrameMkLst>
            <pc:docMk/>
            <pc:sldMk cId="822483613" sldId="538"/>
            <ac:graphicFrameMk id="22" creationId="{2C16AC10-8D7E-C362-B5A1-F61049D517B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51.245" v="4851"/>
          <ac:graphicFrameMkLst>
            <pc:docMk/>
            <pc:sldMk cId="822483613" sldId="538"/>
            <ac:graphicFrameMk id="23" creationId="{67D0774D-1394-3E1A-C556-F82AD737F450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8:56.624" v="4931"/>
          <ac:graphicFrameMkLst>
            <pc:docMk/>
            <pc:sldMk cId="822483613" sldId="538"/>
            <ac:graphicFrameMk id="24" creationId="{FCA517D6-9004-29AC-2EE9-0CF07372506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9:02.380" v="5011"/>
          <ac:graphicFrameMkLst>
            <pc:docMk/>
            <pc:sldMk cId="822483613" sldId="538"/>
            <ac:graphicFrameMk id="25" creationId="{3E548B76-1830-035A-FBB3-AD3D7E842A7D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7:08.802" v="3809"/>
          <ac:graphicFrameMkLst>
            <pc:docMk/>
            <pc:sldMk cId="822483613" sldId="538"/>
            <ac:graphicFrameMk id="26" creationId="{2E85CE2E-155C-1163-46F6-6C243811F64D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9:02.407" v="5045"/>
          <ac:graphicFrameMkLst>
            <pc:docMk/>
            <pc:sldMk cId="822483613" sldId="538"/>
            <ac:graphicFrameMk id="27" creationId="{C8335773-61A7-3A02-943D-BFB79918E99D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4:36:07.860" v="1978"/>
          <ac:graphicFrameMkLst>
            <pc:docMk/>
            <pc:sldMk cId="822483613" sldId="538"/>
            <ac:graphicFrameMk id="70" creationId="{A46671E1-245D-4371-A579-0B1E75014C14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4:36:08.541" v="2527"/>
          <ac:graphicFrameMkLst>
            <pc:docMk/>
            <pc:sldMk cId="822483613" sldId="538"/>
            <ac:graphicFrameMk id="71" creationId="{8C9FB987-57F8-4EB0-9A01-C72CE6FBD08F}"/>
          </ac:graphicFrameMkLst>
        </pc:graphicFrameChg>
        <pc:cxnChg chg="mod ord">
          <ac:chgData name="Brito Cortés, Sofía Constanza" userId="bc780694-5ad3-4b43-9d08-68ceeeeb3a92" providerId="ADAL" clId="{78668647-0E4E-4D51-9C0E-13926B4FF229}" dt="2023-07-13T14:49:02.417" v="5064"/>
          <ac:cxnSpMkLst>
            <pc:docMk/>
            <pc:sldMk cId="822483613" sldId="538"/>
            <ac:cxnSpMk id="370" creationId="{00000000-0000-0000-0000-000000000000}"/>
          </ac:cxnSpMkLst>
        </pc:cxnChg>
        <pc:cxnChg chg="mod ord">
          <ac:chgData name="Brito Cortés, Sofía Constanza" userId="bc780694-5ad3-4b43-9d08-68ceeeeb3a92" providerId="ADAL" clId="{78668647-0E4E-4D51-9C0E-13926B4FF229}" dt="2023-07-13T14:49:02.419" v="5068"/>
          <ac:cxnSpMkLst>
            <pc:docMk/>
            <pc:sldMk cId="822483613" sldId="538"/>
            <ac:cxnSpMk id="378" creationId="{00000000-0000-0000-0000-000000000000}"/>
          </ac:cxnSpMkLst>
        </pc:cxn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4259841825" sldId="766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4259841825" sldId="766"/>
            <ac:spMk id="4" creationId="{57EA52D8-E332-CA12-1DC4-E3928B564ED2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124602753" sldId="134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124602753" sldId="1342"/>
            <ac:spMk id="2" creationId="{88F2E841-A33C-6A1A-E06E-3C94CF54E598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363089439" sldId="1343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363089439" sldId="1343"/>
            <ac:spMk id="2" creationId="{B6A635EB-507C-5EAD-F5B9-B6CF2D6E7A85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749523609" sldId="134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749523609" sldId="1344"/>
            <ac:spMk id="2" creationId="{9A5E0621-F821-352D-C40F-0938B3C181F8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089595943" sldId="1345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089595943" sldId="1345"/>
            <ac:spMk id="2" creationId="{377F9C0B-D899-5CC2-3A31-DA31D99CD4FE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001611831" sldId="1349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001611831" sldId="1349"/>
            <ac:spMk id="2" creationId="{498FBD31-DA9C-DCD3-8791-110F4E396870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333318966" sldId="1356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333318966" sldId="1356"/>
            <ac:spMk id="2" creationId="{2AA53882-D390-C27B-5D2D-37E757245D52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1:39.433" v="5479" actId="478"/>
        <pc:sldMkLst>
          <pc:docMk/>
          <pc:sldMk cId="2978932154" sldId="2147472045"/>
        </pc:sldMkLst>
        <pc:spChg chg="add del mod">
          <ac:chgData name="Brito Cortés, Sofía Constanza" userId="bc780694-5ad3-4b43-9d08-68ceeeeb3a92" providerId="ADAL" clId="{78668647-0E4E-4D51-9C0E-13926B4FF229}" dt="2023-07-13T15:41:39.433" v="5479" actId="478"/>
          <ac:spMkLst>
            <pc:docMk/>
            <pc:sldMk cId="2978932154" sldId="2147472045"/>
            <ac:spMk id="3" creationId="{B23F3DDB-C218-E468-FF49-5F07366389EE}"/>
          </ac:spMkLst>
        </pc:spChg>
        <pc:spChg chg="mod">
          <ac:chgData name="Brito Cortés, Sofía Constanza" userId="bc780694-5ad3-4b43-9d08-68ceeeeb3a92" providerId="ADAL" clId="{78668647-0E4E-4D51-9C0E-13926B4FF229}" dt="2023-07-13T15:41:34.415" v="5478" actId="14100"/>
          <ac:spMkLst>
            <pc:docMk/>
            <pc:sldMk cId="2978932154" sldId="2147472045"/>
            <ac:spMk id="5" creationId="{58CB0A50-5842-CA36-C782-05223D366F2E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2:03.361" v="5505" actId="14100"/>
        <pc:sldMkLst>
          <pc:docMk/>
          <pc:sldMk cId="4112429752" sldId="2147472047"/>
        </pc:sldMkLst>
        <pc:spChg chg="mod ord">
          <ac:chgData name="Brito Cortés, Sofía Constanza" userId="bc780694-5ad3-4b43-9d08-68ceeeeb3a92" providerId="ADAL" clId="{78668647-0E4E-4D51-9C0E-13926B4FF229}" dt="2023-07-13T14:46:40.458" v="3668"/>
          <ac:spMkLst>
            <pc:docMk/>
            <pc:sldMk cId="4112429752" sldId="2147472047"/>
            <ac:spMk id="2" creationId="{A1A99D6D-FBC5-1F79-80B1-A94A520EBB19}"/>
          </ac:spMkLst>
        </pc:spChg>
        <pc:spChg chg="mod ord">
          <ac:chgData name="Brito Cortés, Sofía Constanza" userId="bc780694-5ad3-4b43-9d08-68ceeeeb3a92" providerId="ADAL" clId="{78668647-0E4E-4D51-9C0E-13926B4FF229}" dt="2023-07-13T15:41:51.668" v="5503" actId="14100"/>
          <ac:spMkLst>
            <pc:docMk/>
            <pc:sldMk cId="4112429752" sldId="2147472047"/>
            <ac:spMk id="3" creationId="{2B058712-AE2A-17B3-7F91-02EE988E916E}"/>
          </ac:spMkLst>
        </pc:spChg>
        <pc:spChg chg="add del mod modVis">
          <ac:chgData name="Brito Cortés, Sofía Constanza" userId="bc780694-5ad3-4b43-9d08-68ceeeeb3a92" providerId="ADAL" clId="{78668647-0E4E-4D51-9C0E-13926B4FF229}" dt="2023-07-13T14:46:06.053" v="2785"/>
          <ac:spMkLst>
            <pc:docMk/>
            <pc:sldMk cId="4112429752" sldId="2147472047"/>
            <ac:spMk id="4" creationId="{8F8E35D4-0A3D-7D39-B911-8AF747E6651F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2"/>
          <ac:spMkLst>
            <pc:docMk/>
            <pc:sldMk cId="4112429752" sldId="2147472047"/>
            <ac:spMk id="11" creationId="{9B3A2052-7C2B-1132-8D43-9FEB85219D64}"/>
          </ac:spMkLst>
        </pc:spChg>
        <pc:spChg chg="mod">
          <ac:chgData name="Brito Cortés, Sofía Constanza" userId="bc780694-5ad3-4b43-9d08-68ceeeeb3a92" providerId="ADAL" clId="{78668647-0E4E-4D51-9C0E-13926B4FF229}" dt="2023-07-13T14:46:40.464" v="3686"/>
          <ac:spMkLst>
            <pc:docMk/>
            <pc:sldMk cId="4112429752" sldId="2147472047"/>
            <ac:spMk id="12" creationId="{568851F3-4012-F75C-19F7-F7268197D3F7}"/>
          </ac:spMkLst>
        </pc:spChg>
        <pc:spChg chg="mod">
          <ac:chgData name="Brito Cortés, Sofía Constanza" userId="bc780694-5ad3-4b43-9d08-68ceeeeb3a92" providerId="ADAL" clId="{78668647-0E4E-4D51-9C0E-13926B4FF229}" dt="2023-07-13T14:46:40.464" v="3687"/>
          <ac:spMkLst>
            <pc:docMk/>
            <pc:sldMk cId="4112429752" sldId="2147472047"/>
            <ac:spMk id="13" creationId="{C3A9D536-CA42-FFBA-8234-1B3937FE3B68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89"/>
          <ac:spMkLst>
            <pc:docMk/>
            <pc:sldMk cId="4112429752" sldId="2147472047"/>
            <ac:spMk id="14" creationId="{B2310BA7-549D-DD35-CACB-8A211254C873}"/>
          </ac:spMkLst>
        </pc:spChg>
        <pc:spChg chg="mod">
          <ac:chgData name="Brito Cortés, Sofía Constanza" userId="bc780694-5ad3-4b43-9d08-68ceeeeb3a92" providerId="ADAL" clId="{78668647-0E4E-4D51-9C0E-13926B4FF229}" dt="2023-07-13T14:46:40.471" v="3705"/>
          <ac:spMkLst>
            <pc:docMk/>
            <pc:sldMk cId="4112429752" sldId="2147472047"/>
            <ac:spMk id="15" creationId="{2B8D8946-9C9B-1AA1-6D69-2A6CC3201EB5}"/>
          </ac:spMkLst>
        </pc:spChg>
        <pc:spChg chg="mod ord">
          <ac:chgData name="Brito Cortés, Sofía Constanza" userId="bc780694-5ad3-4b43-9d08-68ceeeeb3a92" providerId="ADAL" clId="{78668647-0E4E-4D51-9C0E-13926B4FF229}" dt="2023-07-13T14:46:40.463" v="3683"/>
          <ac:spMkLst>
            <pc:docMk/>
            <pc:sldMk cId="4112429752" sldId="2147472047"/>
            <ac:spMk id="16" creationId="{DA8125F0-A453-603D-AC5A-038F78701EFA}"/>
          </ac:spMkLst>
        </pc:spChg>
        <pc:spChg chg="mod">
          <ac:chgData name="Brito Cortés, Sofía Constanza" userId="bc780694-5ad3-4b43-9d08-68ceeeeb3a92" providerId="ADAL" clId="{78668647-0E4E-4D51-9C0E-13926B4FF229}" dt="2023-07-13T14:46:40.462" v="3682"/>
          <ac:spMkLst>
            <pc:docMk/>
            <pc:sldMk cId="4112429752" sldId="2147472047"/>
            <ac:spMk id="17" creationId="{22529640-FB0D-C767-E0FD-31A7CC131902}"/>
          </ac:spMkLst>
        </pc:spChg>
        <pc:spChg chg="mod">
          <ac:chgData name="Brito Cortés, Sofía Constanza" userId="bc780694-5ad3-4b43-9d08-68ceeeeb3a92" providerId="ADAL" clId="{78668647-0E4E-4D51-9C0E-13926B4FF229}" dt="2023-07-13T14:46:40.463" v="3684"/>
          <ac:spMkLst>
            <pc:docMk/>
            <pc:sldMk cId="4112429752" sldId="2147472047"/>
            <ac:spMk id="18" creationId="{11A83897-26BA-B6C2-0D3E-AF9662A49A77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88"/>
          <ac:spMkLst>
            <pc:docMk/>
            <pc:sldMk cId="4112429752" sldId="2147472047"/>
            <ac:spMk id="19" creationId="{3E1663B2-7ABD-0553-9744-88C915E4576A}"/>
          </ac:spMkLst>
        </pc:spChg>
        <pc:spChg chg="mod">
          <ac:chgData name="Brito Cortés, Sofía Constanza" userId="bc780694-5ad3-4b43-9d08-68ceeeeb3a92" providerId="ADAL" clId="{78668647-0E4E-4D51-9C0E-13926B4FF229}" dt="2023-07-13T14:46:40.463" v="3685"/>
          <ac:spMkLst>
            <pc:docMk/>
            <pc:sldMk cId="4112429752" sldId="2147472047"/>
            <ac:spMk id="20" creationId="{DBEB1A78-1877-1DB9-7E54-FE29CB3493A0}"/>
          </ac:spMkLst>
        </pc:spChg>
        <pc:spChg chg="mod">
          <ac:chgData name="Brito Cortés, Sofía Constanza" userId="bc780694-5ad3-4b43-9d08-68ceeeeb3a92" providerId="ADAL" clId="{78668647-0E4E-4D51-9C0E-13926B4FF229}" dt="2023-07-13T14:46:40.465" v="3690"/>
          <ac:spMkLst>
            <pc:docMk/>
            <pc:sldMk cId="4112429752" sldId="2147472047"/>
            <ac:spMk id="21" creationId="{1243E8EE-382E-4AD7-5671-373677B5D930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1"/>
          <ac:spMkLst>
            <pc:docMk/>
            <pc:sldMk cId="4112429752" sldId="2147472047"/>
            <ac:spMk id="22" creationId="{8CEAEBB5-4390-191D-CE21-A5D679EC1CC5}"/>
          </ac:spMkLst>
        </pc:spChg>
        <pc:spChg chg="mod">
          <ac:chgData name="Brito Cortés, Sofía Constanza" userId="bc780694-5ad3-4b43-9d08-68ceeeeb3a92" providerId="ADAL" clId="{78668647-0E4E-4D51-9C0E-13926B4FF229}" dt="2023-07-13T14:46:40.466" v="3693"/>
          <ac:spMkLst>
            <pc:docMk/>
            <pc:sldMk cId="4112429752" sldId="2147472047"/>
            <ac:spMk id="23" creationId="{4FF3B23F-04BF-8455-8210-31537FE94338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4"/>
          <ac:spMkLst>
            <pc:docMk/>
            <pc:sldMk cId="4112429752" sldId="2147472047"/>
            <ac:spMk id="24" creationId="{C0BECB80-30C2-F89E-ED45-9D53C277CE9C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5"/>
          <ac:spMkLst>
            <pc:docMk/>
            <pc:sldMk cId="4112429752" sldId="2147472047"/>
            <ac:spMk id="25" creationId="{2AE3DF99-3362-A844-52F5-4B9DA348626E}"/>
          </ac:spMkLst>
        </pc:spChg>
        <pc:spChg chg="mod">
          <ac:chgData name="Brito Cortés, Sofía Constanza" userId="bc780694-5ad3-4b43-9d08-68ceeeeb3a92" providerId="ADAL" clId="{78668647-0E4E-4D51-9C0E-13926B4FF229}" dt="2023-07-13T14:46:40.467" v="3696"/>
          <ac:spMkLst>
            <pc:docMk/>
            <pc:sldMk cId="4112429752" sldId="2147472047"/>
            <ac:spMk id="26" creationId="{ACF4148B-BA2F-0DB0-8D71-18CB069ACAEF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8"/>
          <ac:spMkLst>
            <pc:docMk/>
            <pc:sldMk cId="4112429752" sldId="2147472047"/>
            <ac:spMk id="27" creationId="{D76D2B32-0177-78DD-2FE7-251BB015B7E2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9"/>
          <ac:spMkLst>
            <pc:docMk/>
            <pc:sldMk cId="4112429752" sldId="2147472047"/>
            <ac:spMk id="28" creationId="{9837B9EF-2AB0-EFCF-D2BA-A90BC4C73043}"/>
          </ac:spMkLst>
        </pc:spChg>
        <pc:spChg chg="mod">
          <ac:chgData name="Brito Cortés, Sofía Constanza" userId="bc780694-5ad3-4b43-9d08-68ceeeeb3a92" providerId="ADAL" clId="{78668647-0E4E-4D51-9C0E-13926B4FF229}" dt="2023-07-13T14:46:40.468" v="3697"/>
          <ac:spMkLst>
            <pc:docMk/>
            <pc:sldMk cId="4112429752" sldId="2147472047"/>
            <ac:spMk id="29" creationId="{67F17703-0039-F4CF-3B02-854819A48F5D}"/>
          </ac:spMkLst>
        </pc:spChg>
        <pc:spChg chg="mod">
          <ac:chgData name="Brito Cortés, Sofía Constanza" userId="bc780694-5ad3-4b43-9d08-68ceeeeb3a92" providerId="ADAL" clId="{78668647-0E4E-4D51-9C0E-13926B4FF229}" dt="2023-07-13T14:46:40.469" v="3700"/>
          <ac:spMkLst>
            <pc:docMk/>
            <pc:sldMk cId="4112429752" sldId="2147472047"/>
            <ac:spMk id="30" creationId="{39CCEF68-CC70-683C-5298-38B9E999CD7F}"/>
          </ac:spMkLst>
        </pc:spChg>
        <pc:spChg chg="mod">
          <ac:chgData name="Brito Cortés, Sofía Constanza" userId="bc780694-5ad3-4b43-9d08-68ceeeeb3a92" providerId="ADAL" clId="{78668647-0E4E-4D51-9C0E-13926B4FF229}" dt="2023-07-13T14:46:40.469" v="3701"/>
          <ac:spMkLst>
            <pc:docMk/>
            <pc:sldMk cId="4112429752" sldId="2147472047"/>
            <ac:spMk id="31" creationId="{D3019188-B777-DDA0-63A1-736C7B1789A0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2"/>
          <ac:spMkLst>
            <pc:docMk/>
            <pc:sldMk cId="4112429752" sldId="2147472047"/>
            <ac:spMk id="32" creationId="{FBBD7066-D519-F436-7AC9-0C8693438E6D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3"/>
          <ac:spMkLst>
            <pc:docMk/>
            <pc:sldMk cId="4112429752" sldId="2147472047"/>
            <ac:spMk id="33" creationId="{00D8E201-B958-268A-BC92-321E25B63352}"/>
          </ac:spMkLst>
        </pc:spChg>
        <pc:spChg chg="mod">
          <ac:chgData name="Brito Cortés, Sofía Constanza" userId="bc780694-5ad3-4b43-9d08-68ceeeeb3a92" providerId="ADAL" clId="{78668647-0E4E-4D51-9C0E-13926B4FF229}" dt="2023-07-13T14:46:40.470" v="3704"/>
          <ac:spMkLst>
            <pc:docMk/>
            <pc:sldMk cId="4112429752" sldId="2147472047"/>
            <ac:spMk id="34" creationId="{8D51E5C2-A97B-E4E8-21FE-CFF731127E5D}"/>
          </ac:spMkLst>
        </pc:spChg>
        <pc:spChg chg="mod ord">
          <ac:chgData name="Brito Cortés, Sofía Constanza" userId="bc780694-5ad3-4b43-9d08-68ceeeeb3a92" providerId="ADAL" clId="{78668647-0E4E-4D51-9C0E-13926B4FF229}" dt="2023-07-13T14:46:40.472" v="3709"/>
          <ac:spMkLst>
            <pc:docMk/>
            <pc:sldMk cId="4112429752" sldId="2147472047"/>
            <ac:spMk id="35" creationId="{9F1C12AB-E41E-C908-C55C-78AAA4262DBB}"/>
          </ac:spMkLst>
        </pc:spChg>
        <pc:spChg chg="mod ord">
          <ac:chgData name="Brito Cortés, Sofía Constanza" userId="bc780694-5ad3-4b43-9d08-68ceeeeb3a92" providerId="ADAL" clId="{78668647-0E4E-4D51-9C0E-13926B4FF229}" dt="2023-07-13T14:46:40.472" v="3707"/>
          <ac:spMkLst>
            <pc:docMk/>
            <pc:sldMk cId="4112429752" sldId="2147472047"/>
            <ac:spMk id="36" creationId="{CA32EEFE-D9E9-6679-6249-36157FF6AF24}"/>
          </ac:spMkLst>
        </pc:spChg>
        <pc:spChg chg="mod">
          <ac:chgData name="Brito Cortés, Sofía Constanza" userId="bc780694-5ad3-4b43-9d08-68ceeeeb3a92" providerId="ADAL" clId="{78668647-0E4E-4D51-9C0E-13926B4FF229}" dt="2023-07-13T14:46:40.473" v="3711"/>
          <ac:spMkLst>
            <pc:docMk/>
            <pc:sldMk cId="4112429752" sldId="2147472047"/>
            <ac:spMk id="37" creationId="{F1FCB6E9-025E-A8A7-C2CD-8080D80AFE60}"/>
          </ac:spMkLst>
        </pc:spChg>
        <pc:spChg chg="mod">
          <ac:chgData name="Brito Cortés, Sofía Constanza" userId="bc780694-5ad3-4b43-9d08-68ceeeeb3a92" providerId="ADAL" clId="{78668647-0E4E-4D51-9C0E-13926B4FF229}" dt="2023-07-13T14:46:40.473" v="3710"/>
          <ac:spMkLst>
            <pc:docMk/>
            <pc:sldMk cId="4112429752" sldId="2147472047"/>
            <ac:spMk id="38" creationId="{71492B7F-0DD7-5325-9300-4A5FA6D0FBED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3"/>
          <ac:spMkLst>
            <pc:docMk/>
            <pc:sldMk cId="4112429752" sldId="2147472047"/>
            <ac:spMk id="39" creationId="{63451686-AF3E-42C7-2405-C4D4344381F5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5"/>
          <ac:spMkLst>
            <pc:docMk/>
            <pc:sldMk cId="4112429752" sldId="2147472047"/>
            <ac:spMk id="40" creationId="{05CB738D-5573-9F27-29DA-0D6D65E03D68}"/>
          </ac:spMkLst>
        </pc:spChg>
        <pc:spChg chg="mod ord">
          <ac:chgData name="Brito Cortés, Sofía Constanza" userId="bc780694-5ad3-4b43-9d08-68ceeeeb3a92" providerId="ADAL" clId="{78668647-0E4E-4D51-9C0E-13926B4FF229}" dt="2023-07-13T14:46:40.475" v="3717"/>
          <ac:spMkLst>
            <pc:docMk/>
            <pc:sldMk cId="4112429752" sldId="2147472047"/>
            <ac:spMk id="41" creationId="{3C6B45F3-C845-E737-59F3-16FCCE75AB0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6" v="3719"/>
          <ac:spMkLst>
            <pc:docMk/>
            <pc:sldMk cId="4112429752" sldId="2147472047"/>
            <ac:spMk id="42" creationId="{9D6E9A75-686A-206A-FCA2-E0F84EEADB32}"/>
          </ac:spMkLst>
        </pc:spChg>
        <pc:spChg chg="mod ord">
          <ac:chgData name="Brito Cortés, Sofía Constanza" userId="bc780694-5ad3-4b43-9d08-68ceeeeb3a92" providerId="ADAL" clId="{78668647-0E4E-4D51-9C0E-13926B4FF229}" dt="2023-07-13T14:46:40.476" v="3721"/>
          <ac:spMkLst>
            <pc:docMk/>
            <pc:sldMk cId="4112429752" sldId="2147472047"/>
            <ac:spMk id="43" creationId="{9D0C83B1-F5FF-0319-3088-D912C83C984C}"/>
          </ac:spMkLst>
        </pc:spChg>
        <pc:spChg chg="mod ord">
          <ac:chgData name="Brito Cortés, Sofía Constanza" userId="bc780694-5ad3-4b43-9d08-68ceeeeb3a92" providerId="ADAL" clId="{78668647-0E4E-4D51-9C0E-13926B4FF229}" dt="2023-07-13T14:46:40.477" v="3723"/>
          <ac:spMkLst>
            <pc:docMk/>
            <pc:sldMk cId="4112429752" sldId="2147472047"/>
            <ac:spMk id="44" creationId="{23AF473A-64C2-E105-32C4-BC952D1100D3}"/>
          </ac:spMkLst>
        </pc:spChg>
        <pc:spChg chg="mod ord">
          <ac:chgData name="Brito Cortés, Sofía Constanza" userId="bc780694-5ad3-4b43-9d08-68ceeeeb3a92" providerId="ADAL" clId="{78668647-0E4E-4D51-9C0E-13926B4FF229}" dt="2023-07-13T14:46:40.477" v="3725"/>
          <ac:spMkLst>
            <pc:docMk/>
            <pc:sldMk cId="4112429752" sldId="2147472047"/>
            <ac:spMk id="45" creationId="{6AA9ED44-4BE7-4FAC-0B52-3053341D587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8" v="3727"/>
          <ac:spMkLst>
            <pc:docMk/>
            <pc:sldMk cId="4112429752" sldId="2147472047"/>
            <ac:spMk id="46" creationId="{53AABDB7-3875-62D7-6E4E-100D4DEF68AF}"/>
          </ac:spMkLst>
        </pc:spChg>
        <pc:spChg chg="mod ord">
          <ac:chgData name="Brito Cortés, Sofía Constanza" userId="bc780694-5ad3-4b43-9d08-68ceeeeb3a92" providerId="ADAL" clId="{78668647-0E4E-4D51-9C0E-13926B4FF229}" dt="2023-07-13T14:46:40.479" v="3729"/>
          <ac:spMkLst>
            <pc:docMk/>
            <pc:sldMk cId="4112429752" sldId="2147472047"/>
            <ac:spMk id="47" creationId="{6939A5A2-30A9-7803-A92F-81503D5220A6}"/>
          </ac:spMkLst>
        </pc:spChg>
        <pc:spChg chg="mod ord">
          <ac:chgData name="Brito Cortés, Sofía Constanza" userId="bc780694-5ad3-4b43-9d08-68ceeeeb3a92" providerId="ADAL" clId="{78668647-0E4E-4D51-9C0E-13926B4FF229}" dt="2023-07-13T14:46:40.479" v="3731"/>
          <ac:spMkLst>
            <pc:docMk/>
            <pc:sldMk cId="4112429752" sldId="2147472047"/>
            <ac:spMk id="48" creationId="{0F2C7FCA-D284-FF3F-9DDD-2E9392046EC6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3"/>
          <ac:spMkLst>
            <pc:docMk/>
            <pc:sldMk cId="4112429752" sldId="2147472047"/>
            <ac:spMk id="49" creationId="{773CF904-C2A9-C27C-1CFC-04CAA1D8F512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5"/>
          <ac:spMkLst>
            <pc:docMk/>
            <pc:sldMk cId="4112429752" sldId="2147472047"/>
            <ac:spMk id="50" creationId="{769705C2-B416-A5F0-E408-FC1A4D29AE2B}"/>
          </ac:spMkLst>
        </pc:spChg>
        <pc:spChg chg="mod ord">
          <ac:chgData name="Brito Cortés, Sofía Constanza" userId="bc780694-5ad3-4b43-9d08-68ceeeeb3a92" providerId="ADAL" clId="{78668647-0E4E-4D51-9C0E-13926B4FF229}" dt="2023-07-13T14:46:40.480" v="3737"/>
          <ac:spMkLst>
            <pc:docMk/>
            <pc:sldMk cId="4112429752" sldId="2147472047"/>
            <ac:spMk id="51" creationId="{1B5A1FED-98DD-912F-B27D-667038B07C18}"/>
          </ac:spMkLst>
        </pc:spChg>
        <pc:spChg chg="mod ord">
          <ac:chgData name="Brito Cortés, Sofía Constanza" userId="bc780694-5ad3-4b43-9d08-68ceeeeb3a92" providerId="ADAL" clId="{78668647-0E4E-4D51-9C0E-13926B4FF229}" dt="2023-07-13T14:46:40.481" v="3739"/>
          <ac:spMkLst>
            <pc:docMk/>
            <pc:sldMk cId="4112429752" sldId="2147472047"/>
            <ac:spMk id="52" creationId="{177FB5D2-3822-966D-C16A-0ABD93C5F824}"/>
          </ac:spMkLst>
        </pc:spChg>
        <pc:spChg chg="mod ord">
          <ac:chgData name="Brito Cortés, Sofía Constanza" userId="bc780694-5ad3-4b43-9d08-68ceeeeb3a92" providerId="ADAL" clId="{78668647-0E4E-4D51-9C0E-13926B4FF229}" dt="2023-07-13T14:46:40.481" v="3741"/>
          <ac:spMkLst>
            <pc:docMk/>
            <pc:sldMk cId="4112429752" sldId="2147472047"/>
            <ac:spMk id="53" creationId="{FF4BAB4C-AAEF-56F2-ED43-12A03C34F46E}"/>
          </ac:spMkLst>
        </pc:spChg>
        <pc:spChg chg="mod ord">
          <ac:chgData name="Brito Cortés, Sofía Constanza" userId="bc780694-5ad3-4b43-9d08-68ceeeeb3a92" providerId="ADAL" clId="{78668647-0E4E-4D51-9C0E-13926B4FF229}" dt="2023-07-13T14:46:40.483" v="3745"/>
          <ac:spMkLst>
            <pc:docMk/>
            <pc:sldMk cId="4112429752" sldId="2147472047"/>
            <ac:spMk id="55" creationId="{763F8062-6062-D8BE-022E-CAC9D5DD07B3}"/>
          </ac:spMkLst>
        </pc:spChg>
        <pc:spChg chg="mod ord">
          <ac:chgData name="Brito Cortés, Sofía Constanza" userId="bc780694-5ad3-4b43-9d08-68ceeeeb3a92" providerId="ADAL" clId="{78668647-0E4E-4D51-9C0E-13926B4FF229}" dt="2023-07-13T14:46:40.483" v="3747"/>
          <ac:spMkLst>
            <pc:docMk/>
            <pc:sldMk cId="4112429752" sldId="2147472047"/>
            <ac:spMk id="56" creationId="{BFF64D7F-8FEC-033B-CC3A-CD69DAE2A982}"/>
          </ac:spMkLst>
        </pc:spChg>
        <pc:spChg chg="mod ord">
          <ac:chgData name="Brito Cortés, Sofía Constanza" userId="bc780694-5ad3-4b43-9d08-68ceeeeb3a92" providerId="ADAL" clId="{78668647-0E4E-4D51-9C0E-13926B4FF229}" dt="2023-07-13T14:46:40.484" v="3749"/>
          <ac:spMkLst>
            <pc:docMk/>
            <pc:sldMk cId="4112429752" sldId="2147472047"/>
            <ac:spMk id="57" creationId="{E3BF66F3-BA5C-8614-DAFE-9F52318C2C3C}"/>
          </ac:spMkLst>
        </pc:spChg>
        <pc:spChg chg="mod ord">
          <ac:chgData name="Brito Cortés, Sofía Constanza" userId="bc780694-5ad3-4b43-9d08-68ceeeeb3a92" providerId="ADAL" clId="{78668647-0E4E-4D51-9C0E-13926B4FF229}" dt="2023-07-13T14:46:40.484" v="3751"/>
          <ac:spMkLst>
            <pc:docMk/>
            <pc:sldMk cId="4112429752" sldId="2147472047"/>
            <ac:spMk id="58" creationId="{6CD15EA4-7E01-6365-6A0E-3670FFF4C96F}"/>
          </ac:spMkLst>
        </pc:spChg>
        <pc:spChg chg="mod ord">
          <ac:chgData name="Brito Cortés, Sofía Constanza" userId="bc780694-5ad3-4b43-9d08-68ceeeeb3a92" providerId="ADAL" clId="{78668647-0E4E-4D51-9C0E-13926B4FF229}" dt="2023-07-13T14:46:40.485" v="3753"/>
          <ac:spMkLst>
            <pc:docMk/>
            <pc:sldMk cId="4112429752" sldId="2147472047"/>
            <ac:spMk id="59" creationId="{7DA8CF12-E086-0146-CD28-FF7A063E116E}"/>
          </ac:spMkLst>
        </pc:spChg>
        <pc:spChg chg="mod ord">
          <ac:chgData name="Brito Cortés, Sofía Constanza" userId="bc780694-5ad3-4b43-9d08-68ceeeeb3a92" providerId="ADAL" clId="{78668647-0E4E-4D51-9C0E-13926B4FF229}" dt="2023-07-13T14:46:40.486" v="3755"/>
          <ac:spMkLst>
            <pc:docMk/>
            <pc:sldMk cId="4112429752" sldId="2147472047"/>
            <ac:spMk id="60" creationId="{07223135-6162-403F-CD27-6FDA5DD6E1DD}"/>
          </ac:spMkLst>
        </pc:spChg>
        <pc:spChg chg="mod ord">
          <ac:chgData name="Brito Cortés, Sofía Constanza" userId="bc780694-5ad3-4b43-9d08-68ceeeeb3a92" providerId="ADAL" clId="{78668647-0E4E-4D51-9C0E-13926B4FF229}" dt="2023-07-13T14:46:40.486" v="3757"/>
          <ac:spMkLst>
            <pc:docMk/>
            <pc:sldMk cId="4112429752" sldId="2147472047"/>
            <ac:spMk id="61" creationId="{BDC8FC60-1E2D-7865-7FCE-8A0591473161}"/>
          </ac:spMkLst>
        </pc:spChg>
        <pc:spChg chg="mod ord">
          <ac:chgData name="Brito Cortés, Sofía Constanza" userId="bc780694-5ad3-4b43-9d08-68ceeeeb3a92" providerId="ADAL" clId="{78668647-0E4E-4D51-9C0E-13926B4FF229}" dt="2023-07-13T14:46:40.487" v="3759"/>
          <ac:spMkLst>
            <pc:docMk/>
            <pc:sldMk cId="4112429752" sldId="2147472047"/>
            <ac:spMk id="62" creationId="{5951DD4D-045A-31CD-8D09-4AE6E333FD61}"/>
          </ac:spMkLst>
        </pc:spChg>
        <pc:spChg chg="mod ord">
          <ac:chgData name="Brito Cortés, Sofía Constanza" userId="bc780694-5ad3-4b43-9d08-68ceeeeb3a92" providerId="ADAL" clId="{78668647-0E4E-4D51-9C0E-13926B4FF229}" dt="2023-07-13T15:42:03.361" v="5505" actId="14100"/>
          <ac:spMkLst>
            <pc:docMk/>
            <pc:sldMk cId="4112429752" sldId="2147472047"/>
            <ac:spMk id="63" creationId="{93D9DC97-EA27-E0C5-6EE0-4EBC9A81AE6C}"/>
          </ac:spMkLst>
        </pc:spChg>
        <pc:spChg chg="mod ord">
          <ac:chgData name="Brito Cortés, Sofía Constanza" userId="bc780694-5ad3-4b43-9d08-68ceeeeb3a92" providerId="ADAL" clId="{78668647-0E4E-4D51-9C0E-13926B4FF229}" dt="2023-07-13T14:46:40.488" v="3763"/>
          <ac:spMkLst>
            <pc:docMk/>
            <pc:sldMk cId="4112429752" sldId="2147472047"/>
            <ac:spMk id="70" creationId="{431CD7B2-7D0D-4489-A2C8-B60F241ECE2D}"/>
          </ac:spMkLst>
        </pc:spChg>
        <pc:spChg chg="add del mod">
          <ac:chgData name="Brito Cortés, Sofía Constanza" userId="bc780694-5ad3-4b43-9d08-68ceeeeb3a92" providerId="ADAL" clId="{78668647-0E4E-4D51-9C0E-13926B4FF229}" dt="2023-07-13T15:41:55.436" v="5504" actId="478"/>
          <ac:spMkLst>
            <pc:docMk/>
            <pc:sldMk cId="4112429752" sldId="2147472047"/>
            <ac:spMk id="75" creationId="{E790F6A9-CB26-E6D9-4B5B-3A4B7FEEF0E6}"/>
          </ac:spMkLst>
        </pc:spChg>
        <pc:graphicFrameChg chg="add del mod replST">
          <ac:chgData name="Brito Cortés, Sofía Constanza" userId="bc780694-5ad3-4b43-9d08-68ceeeeb3a92" providerId="ADAL" clId="{78668647-0E4E-4D51-9C0E-13926B4FF229}" dt="2023-07-13T14:46:08.171" v="2815"/>
          <ac:graphicFrameMkLst>
            <pc:docMk/>
            <pc:sldMk cId="4112429752" sldId="2147472047"/>
            <ac:graphicFrameMk id="10" creationId="{32E616E1-8991-8121-D577-DC70E3C5D631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09.508" v="2955"/>
          <ac:graphicFrameMkLst>
            <pc:docMk/>
            <pc:sldMk cId="4112429752" sldId="2147472047"/>
            <ac:graphicFrameMk id="64" creationId="{D5EE6BDA-46B9-B4C9-D09A-4DCEF2B39AEA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16.930" v="3095"/>
          <ac:graphicFrameMkLst>
            <pc:docMk/>
            <pc:sldMk cId="4112429752" sldId="2147472047"/>
            <ac:graphicFrameMk id="65" creationId="{58202A23-3F76-B5D0-4EAE-7D2FC5AD51A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22.619" v="3237"/>
          <ac:graphicFrameMkLst>
            <pc:docMk/>
            <pc:sldMk cId="4112429752" sldId="2147472047"/>
            <ac:graphicFrameMk id="66" creationId="{E0D450DF-C6E0-DF18-468E-66B793107F0A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28.840" v="3377"/>
          <ac:graphicFrameMkLst>
            <pc:docMk/>
            <pc:sldMk cId="4112429752" sldId="2147472047"/>
            <ac:graphicFrameMk id="67" creationId="{A34D8A3C-B7F7-84C0-BFB8-7F980DA45C5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34.839" v="3519"/>
          <ac:graphicFrameMkLst>
            <pc:docMk/>
            <pc:sldMk cId="4112429752" sldId="2147472047"/>
            <ac:graphicFrameMk id="68" creationId="{A00996AC-7A64-B52D-9C5F-B0536004EB5E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40.441" v="3658"/>
          <ac:graphicFrameMkLst>
            <pc:docMk/>
            <pc:sldMk cId="4112429752" sldId="2147472047"/>
            <ac:graphicFrameMk id="71" creationId="{2F411F7F-CAE9-D4E6-55B0-6BDF0196B14E}"/>
          </ac:graphicFrameMkLst>
        </pc:graphicFrameChg>
        <pc:graphicFrameChg chg="mod">
          <ac:chgData name="Brito Cortés, Sofía Constanza" userId="bc780694-5ad3-4b43-9d08-68ceeeeb3a92" providerId="ADAL" clId="{78668647-0E4E-4D51-9C0E-13926B4FF229}" dt="2023-07-13T14:46:40.491" v="3769"/>
          <ac:graphicFrameMkLst>
            <pc:docMk/>
            <pc:sldMk cId="4112429752" sldId="2147472047"/>
            <ac:graphicFrameMk id="72" creationId="{6B79C9EB-17DC-D15B-C3A4-6EAB4D2DA462}"/>
          </ac:graphicFrameMkLst>
        </pc:graphicFrameChg>
        <pc:graphicFrameChg chg="add mod replST">
          <ac:chgData name="Brito Cortés, Sofía Constanza" userId="bc780694-5ad3-4b43-9d08-68ceeeeb3a92" providerId="ADAL" clId="{78668647-0E4E-4D51-9C0E-13926B4FF229}" dt="2023-07-13T14:46:40.462" v="3681"/>
          <ac:graphicFrameMkLst>
            <pc:docMk/>
            <pc:sldMk cId="4112429752" sldId="2147472047"/>
            <ac:graphicFrameMk id="74" creationId="{3A8157B2-2E5B-E3C1-0ED0-CCD3901947F4}"/>
          </ac:graphicFrameMkLst>
        </pc:graphicFrameChg>
        <pc:graphicFrameChg chg="del">
          <ac:chgData name="Brito Cortés, Sofía Constanza" userId="bc780694-5ad3-4b43-9d08-68ceeeeb3a92" providerId="ADAL" clId="{78668647-0E4E-4D51-9C0E-13926B4FF229}" dt="2023-07-13T13:35:14.884" v="27"/>
          <ac:graphicFrameMkLst>
            <pc:docMk/>
            <pc:sldMk cId="4112429752" sldId="2147472047"/>
            <ac:graphicFrameMk id="76" creationId="{C9CB38C2-AC71-0B59-01BC-CBACA196ABDE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20.329" v="173"/>
          <ac:graphicFrameMkLst>
            <pc:docMk/>
            <pc:sldMk cId="4112429752" sldId="2147472047"/>
            <ac:graphicFrameMk id="77" creationId="{5346B40C-8325-CA34-6F2A-D2B07B4B8198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32.324" v="319"/>
          <ac:graphicFrameMkLst>
            <pc:docMk/>
            <pc:sldMk cId="4112429752" sldId="2147472047"/>
            <ac:graphicFrameMk id="78" creationId="{5FA29822-D3B5-7744-DF23-A4FD1F260ED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36.350" v="462"/>
          <ac:graphicFrameMkLst>
            <pc:docMk/>
            <pc:sldMk cId="4112429752" sldId="2147472047"/>
            <ac:graphicFrameMk id="79" creationId="{56572DF6-3700-5D10-76FC-D7CA425DE2E9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42.434" v="601"/>
          <ac:graphicFrameMkLst>
            <pc:docMk/>
            <pc:sldMk cId="4112429752" sldId="2147472047"/>
            <ac:graphicFrameMk id="80" creationId="{1A4056BC-2992-D103-07F7-08B68D1EC3E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47.245" v="742"/>
          <ac:graphicFrameMkLst>
            <pc:docMk/>
            <pc:sldMk cId="4112429752" sldId="2147472047"/>
            <ac:graphicFrameMk id="81" creationId="{94BE7AB9-0929-2CA6-334E-E8B1BF0AD5D3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52.986" v="884"/>
          <ac:graphicFrameMkLst>
            <pc:docMk/>
            <pc:sldMk cId="4112429752" sldId="2147472047"/>
            <ac:graphicFrameMk id="82" creationId="{8EEB8161-0156-472B-E6B2-72A5EAA7C726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5:57.523" v="1024"/>
          <ac:graphicFrameMkLst>
            <pc:docMk/>
            <pc:sldMk cId="4112429752" sldId="2147472047"/>
            <ac:graphicFrameMk id="83" creationId="{37A09D1B-7A68-47DC-0534-CBD9219F2BC6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3:36:08.389" v="1164"/>
          <ac:graphicFrameMkLst>
            <pc:docMk/>
            <pc:sldMk cId="4112429752" sldId="2147472047"/>
            <ac:graphicFrameMk id="84" creationId="{3C9C5267-5D9D-C1C4-4355-6087E5FA5074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36:01.679" v="1304"/>
          <ac:graphicFrameMkLst>
            <pc:docMk/>
            <pc:sldMk cId="4112429752" sldId="2147472047"/>
            <ac:graphicFrameMk id="85" creationId="{250FF146-ED8C-3E85-F085-BC772EF8AE6D}"/>
          </ac:graphicFrameMkLst>
        </pc:graphicFrameChg>
        <pc:graphicFrameChg chg="add del mod replST">
          <ac:chgData name="Brito Cortés, Sofía Constanza" userId="bc780694-5ad3-4b43-9d08-68ceeeeb3a92" providerId="ADAL" clId="{78668647-0E4E-4D51-9C0E-13926B4FF229}" dt="2023-07-13T14:46:06.005" v="2673"/>
          <ac:graphicFrameMkLst>
            <pc:docMk/>
            <pc:sldMk cId="4112429752" sldId="2147472047"/>
            <ac:graphicFrameMk id="86" creationId="{EE7A76C0-50F0-C043-AEBF-F4347F8D19FD}"/>
          </ac:graphicFrameMkLst>
        </pc:graphicFrameChg>
        <pc:cxnChg chg="mod ord">
          <ac:chgData name="Brito Cortés, Sofía Constanza" userId="bc780694-5ad3-4b43-9d08-68ceeeeb3a92" providerId="ADAL" clId="{78668647-0E4E-4D51-9C0E-13926B4FF229}" dt="2023-07-13T14:46:40.460" v="3676"/>
          <ac:cxnSpMkLst>
            <pc:docMk/>
            <pc:sldMk cId="4112429752" sldId="2147472047"/>
            <ac:cxnSpMk id="5" creationId="{8A299F0C-81AB-2813-5E8F-63CC169D75E3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0" v="3674"/>
          <ac:cxnSpMkLst>
            <pc:docMk/>
            <pc:sldMk cId="4112429752" sldId="2147472047"/>
            <ac:cxnSpMk id="6" creationId="{F35AC3FA-B068-0756-1FDC-5F2BA395F2A2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0" v="3678"/>
          <ac:cxnSpMkLst>
            <pc:docMk/>
            <pc:sldMk cId="4112429752" sldId="2147472047"/>
            <ac:cxnSpMk id="7" creationId="{824628D7-96EE-9DB9-4ADE-0CF4488187A2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62" v="3680"/>
          <ac:cxnSpMkLst>
            <pc:docMk/>
            <pc:sldMk cId="4112429752" sldId="2147472047"/>
            <ac:cxnSpMk id="8" creationId="{0BC079A5-A320-18BD-6882-3A47E0D6BEF6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59" v="3672"/>
          <ac:cxnSpMkLst>
            <pc:docMk/>
            <pc:sldMk cId="4112429752" sldId="2147472047"/>
            <ac:cxnSpMk id="9" creationId="{E5849DBE-F448-5957-4B27-009C6D79BB4F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2" v="3743"/>
          <ac:cxnSpMkLst>
            <pc:docMk/>
            <pc:sldMk cId="4112429752" sldId="2147472047"/>
            <ac:cxnSpMk id="54" creationId="{0D574441-3F33-9C7F-BB05-24E9B54C9139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7" v="3761"/>
          <ac:cxnSpMkLst>
            <pc:docMk/>
            <pc:sldMk cId="4112429752" sldId="2147472047"/>
            <ac:cxnSpMk id="69" creationId="{C7FABC49-B3DB-47FE-9503-1AFECB2A1344}"/>
          </ac:cxnSpMkLst>
        </pc:cxnChg>
        <pc:cxnChg chg="mod ord">
          <ac:chgData name="Brito Cortés, Sofía Constanza" userId="bc780694-5ad3-4b43-9d08-68ceeeeb3a92" providerId="ADAL" clId="{78668647-0E4E-4D51-9C0E-13926B4FF229}" dt="2023-07-13T14:46:40.488" v="3765"/>
          <ac:cxnSpMkLst>
            <pc:docMk/>
            <pc:sldMk cId="4112429752" sldId="2147472047"/>
            <ac:cxnSpMk id="73" creationId="{8C05380A-9727-49F8-8964-4969C1A0BE77}"/>
          </ac:cxnSpMkLst>
        </pc:cxnChg>
      </pc:sldChg>
      <pc:sldChg chg="addSp delSp modSp mod">
        <pc:chgData name="Brito Cortés, Sofía Constanza" userId="bc780694-5ad3-4b43-9d08-68ceeeeb3a92" providerId="ADAL" clId="{78668647-0E4E-4D51-9C0E-13926B4FF229}" dt="2023-07-13T15:33:54.046" v="5434" actId="1076"/>
        <pc:sldMkLst>
          <pc:docMk/>
          <pc:sldMk cId="1385380796" sldId="2147472055"/>
        </pc:sldMkLst>
        <pc:spChg chg="mod">
          <ac:chgData name="Brito Cortés, Sofía Constanza" userId="bc780694-5ad3-4b43-9d08-68ceeeeb3a92" providerId="ADAL" clId="{78668647-0E4E-4D51-9C0E-13926B4FF229}" dt="2023-07-13T15:30:45.810" v="5407" actId="14100"/>
          <ac:spMkLst>
            <pc:docMk/>
            <pc:sldMk cId="1385380796" sldId="2147472055"/>
            <ac:spMk id="3" creationId="{9314D7BC-8012-1876-E091-A8991720254B}"/>
          </ac:spMkLst>
        </pc:spChg>
        <pc:spChg chg="add del mod">
          <ac:chgData name="Brito Cortés, Sofía Constanza" userId="bc780694-5ad3-4b43-9d08-68ceeeeb3a92" providerId="ADAL" clId="{78668647-0E4E-4D51-9C0E-13926B4FF229}" dt="2023-07-13T15:30:49.283" v="5408" actId="478"/>
          <ac:spMkLst>
            <pc:docMk/>
            <pc:sldMk cId="1385380796" sldId="2147472055"/>
            <ac:spMk id="4" creationId="{C2CD0E2A-5F33-893B-87D8-3B5F66E1BC61}"/>
          </ac:spMkLst>
        </pc:spChg>
        <pc:spChg chg="mod">
          <ac:chgData name="Brito Cortés, Sofía Constanza" userId="bc780694-5ad3-4b43-9d08-68ceeeeb3a92" providerId="ADAL" clId="{78668647-0E4E-4D51-9C0E-13926B4FF229}" dt="2023-07-13T15:33:54.046" v="5434" actId="1076"/>
          <ac:spMkLst>
            <pc:docMk/>
            <pc:sldMk cId="1385380796" sldId="2147472055"/>
            <ac:spMk id="6" creationId="{3ACA125B-C062-30BE-1121-7740234B9F92}"/>
          </ac:spMkLst>
        </pc:spChg>
      </pc:sldChg>
      <pc:sldChg chg="modSp mod">
        <pc:chgData name="Brito Cortés, Sofía Constanza" userId="bc780694-5ad3-4b43-9d08-68ceeeeb3a92" providerId="ADAL" clId="{78668647-0E4E-4D51-9C0E-13926B4FF229}" dt="2023-07-13T14:49:23.491" v="5076" actId="14100"/>
        <pc:sldMkLst>
          <pc:docMk/>
          <pc:sldMk cId="2228700247" sldId="2147472058"/>
        </pc:sldMkLst>
        <pc:spChg chg="mod">
          <ac:chgData name="Brito Cortés, Sofía Constanza" userId="bc780694-5ad3-4b43-9d08-68ceeeeb3a92" providerId="ADAL" clId="{78668647-0E4E-4D51-9C0E-13926B4FF229}" dt="2023-07-13T14:49:23.491" v="5076" actId="14100"/>
          <ac:spMkLst>
            <pc:docMk/>
            <pc:sldMk cId="2228700247" sldId="2147472058"/>
            <ac:spMk id="5" creationId="{76F56D33-FE5A-53BE-FBC1-ACB409BE4426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4:58:45.507" v="5130" actId="478"/>
        <pc:sldMkLst>
          <pc:docMk/>
          <pc:sldMk cId="1581219010" sldId="2147472579"/>
        </pc:sldMkLst>
        <pc:spChg chg="mod">
          <ac:chgData name="Brito Cortés, Sofía Constanza" userId="bc780694-5ad3-4b43-9d08-68ceeeeb3a92" providerId="ADAL" clId="{78668647-0E4E-4D51-9C0E-13926B4FF229}" dt="2023-07-13T14:58:37.389" v="5128" actId="14100"/>
          <ac:spMkLst>
            <pc:docMk/>
            <pc:sldMk cId="1581219010" sldId="2147472579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8:45.507" v="5130" actId="478"/>
          <ac:spMkLst>
            <pc:docMk/>
            <pc:sldMk cId="1581219010" sldId="2147472579"/>
            <ac:spMk id="4" creationId="{B919347D-FFFD-CA66-E027-13D397252322}"/>
          </ac:spMkLst>
        </pc:spChg>
        <pc:spChg chg="mod">
          <ac:chgData name="Brito Cortés, Sofía Constanza" userId="bc780694-5ad3-4b43-9d08-68ceeeeb3a92" providerId="ADAL" clId="{78668647-0E4E-4D51-9C0E-13926B4FF229}" dt="2023-07-13T14:58:42.195" v="5129" actId="14100"/>
          <ac:spMkLst>
            <pc:docMk/>
            <pc:sldMk cId="1581219010" sldId="2147472579"/>
            <ac:spMk id="6" creationId="{8E85C523-76B0-C8C0-2EB2-1A682B98FC59}"/>
          </ac:spMkLst>
        </pc:spChg>
      </pc:sldChg>
      <pc:sldChg chg="addSp delSp modSp mod">
        <pc:chgData name="Brito Cortés, Sofía Constanza" userId="bc780694-5ad3-4b43-9d08-68ceeeeb3a92" providerId="ADAL" clId="{78668647-0E4E-4D51-9C0E-13926B4FF229}" dt="2023-07-13T15:44:14.829" v="5553" actId="478"/>
        <pc:sldMkLst>
          <pc:docMk/>
          <pc:sldMk cId="1055185935" sldId="2147472580"/>
        </pc:sldMkLst>
        <pc:spChg chg="mod">
          <ac:chgData name="Brito Cortés, Sofía Constanza" userId="bc780694-5ad3-4b43-9d08-68ceeeeb3a92" providerId="ADAL" clId="{78668647-0E4E-4D51-9C0E-13926B4FF229}" dt="2023-07-13T14:58:52.392" v="5132" actId="14100"/>
          <ac:spMkLst>
            <pc:docMk/>
            <pc:sldMk cId="1055185935" sldId="2147472580"/>
            <ac:spMk id="3" creationId="{00000000-0000-0000-0000-000000000000}"/>
          </ac:spMkLst>
        </pc:spChg>
        <pc:spChg chg="add del mod">
          <ac:chgData name="Brito Cortés, Sofía Constanza" userId="bc780694-5ad3-4b43-9d08-68ceeeeb3a92" providerId="ADAL" clId="{78668647-0E4E-4D51-9C0E-13926B4FF229}" dt="2023-07-13T14:59:01.272" v="5134" actId="478"/>
          <ac:spMkLst>
            <pc:docMk/>
            <pc:sldMk cId="1055185935" sldId="2147472580"/>
            <ac:spMk id="4" creationId="{3F3FFDDD-AA73-4F9D-9139-14F507A72655}"/>
          </ac:spMkLst>
        </pc:spChg>
        <pc:spChg chg="add del mod">
          <ac:chgData name="Brito Cortés, Sofía Constanza" userId="bc780694-5ad3-4b43-9d08-68ceeeeb3a92" providerId="ADAL" clId="{78668647-0E4E-4D51-9C0E-13926B4FF229}" dt="2023-07-13T15:44:14.829" v="5553" actId="478"/>
          <ac:spMkLst>
            <pc:docMk/>
            <pc:sldMk cId="1055185935" sldId="2147472580"/>
            <ac:spMk id="8" creationId="{59588578-2806-3F6E-CEF0-C13C58680BF7}"/>
          </ac:spMkLst>
        </pc:spChg>
      </pc:sldChg>
      <pc:sldChg chg="delSp modSp mod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2861664487" sldId="2147472582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2861664487" sldId="2147472582"/>
            <ac:spMk id="3" creationId="{91F53FF6-0BDA-6AA0-FD5B-7528989C0D59}"/>
          </ac:spMkLst>
        </pc:spChg>
        <pc:spChg chg="mod">
          <ac:chgData name="Brito Cortés, Sofía Constanza" userId="bc780694-5ad3-4b43-9d08-68ceeeeb3a92" providerId="ADAL" clId="{78668647-0E4E-4D51-9C0E-13926B4FF229}" dt="2023-07-13T14:49:52.736" v="5077" actId="207"/>
          <ac:spMkLst>
            <pc:docMk/>
            <pc:sldMk cId="2861664487" sldId="2147472582"/>
            <ac:spMk id="38" creationId="{4746C1AF-0177-46E7-B8A8-1A821220D563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3391829830" sldId="2147472584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3391829830" sldId="2147472584"/>
            <ac:spMk id="2" creationId="{CBDA68B9-D883-5841-417E-1D98D65A80D9}"/>
          </ac:spMkLst>
        </pc:spChg>
      </pc:sldChg>
      <pc:sldChg chg="delSp">
        <pc:chgData name="Brito Cortés, Sofía Constanza" userId="bc780694-5ad3-4b43-9d08-68ceeeeb3a92" providerId="ADAL" clId="{78668647-0E4E-4D51-9C0E-13926B4FF229}" dt="2023-07-13T15:44:17.838" v="5554"/>
        <pc:sldMkLst>
          <pc:docMk/>
          <pc:sldMk cId="1959731242" sldId="2147472585"/>
        </pc:sldMkLst>
        <pc:spChg chg="del">
          <ac:chgData name="Brito Cortés, Sofía Constanza" userId="bc780694-5ad3-4b43-9d08-68ceeeeb3a92" providerId="ADAL" clId="{78668647-0E4E-4D51-9C0E-13926B4FF229}" dt="2023-07-13T15:44:17.838" v="5554"/>
          <ac:spMkLst>
            <pc:docMk/>
            <pc:sldMk cId="1959731242" sldId="2147472585"/>
            <ac:spMk id="2" creationId="{A54CEDBF-1D2D-6765-8CD7-BFBC2D3C458F}"/>
          </ac:spMkLst>
        </pc:spChg>
      </pc:sldChg>
      <pc:sldChg chg="addSp delSp modSp del mod">
        <pc:chgData name="Brito Cortés, Sofía Constanza" userId="bc780694-5ad3-4b43-9d08-68ceeeeb3a92" providerId="ADAL" clId="{78668647-0E4E-4D51-9C0E-13926B4FF229}" dt="2023-07-13T15:00:28.353" v="5317" actId="47"/>
        <pc:sldMkLst>
          <pc:docMk/>
          <pc:sldMk cId="2174871198" sldId="2147472593"/>
        </pc:sldMkLst>
        <pc:spChg chg="add del mod">
          <ac:chgData name="Brito Cortés, Sofía Constanza" userId="bc780694-5ad3-4b43-9d08-68ceeeeb3a92" providerId="ADAL" clId="{78668647-0E4E-4D51-9C0E-13926B4FF229}" dt="2023-07-13T14:59:17.058" v="5137" actId="478"/>
          <ac:spMkLst>
            <pc:docMk/>
            <pc:sldMk cId="2174871198" sldId="2147472593"/>
            <ac:spMk id="2" creationId="{609FA7B7-49C5-12ED-BC1F-F5F47C57BE71}"/>
          </ac:spMkLst>
        </pc:spChg>
        <pc:spChg chg="mod">
          <ac:chgData name="Brito Cortés, Sofía Constanza" userId="bc780694-5ad3-4b43-9d08-68ceeeeb3a92" providerId="ADAL" clId="{78668647-0E4E-4D51-9C0E-13926B4FF229}" dt="2023-07-13T14:59:10.208" v="5136" actId="14100"/>
          <ac:spMkLst>
            <pc:docMk/>
            <pc:sldMk cId="2174871198" sldId="2147472593"/>
            <ac:spMk id="16" creationId="{B91AFF71-4004-04AF-7F4F-00184F3A8AE1}"/>
          </ac:spMkLst>
        </pc:spChg>
      </pc:sldChg>
      <pc:sldChg chg="addSp delSp modSp add mod">
        <pc:chgData name="Brito Cortés, Sofía Constanza" userId="bc780694-5ad3-4b43-9d08-68ceeeeb3a92" providerId="ADAL" clId="{78668647-0E4E-4D51-9C0E-13926B4FF229}" dt="2023-07-13T15:01:43.228" v="5393" actId="14100"/>
        <pc:sldMkLst>
          <pc:docMk/>
          <pc:sldMk cId="1063732729" sldId="2147472594"/>
        </pc:sldMkLst>
        <pc:spChg chg="mod">
          <ac:chgData name="Brito Cortés, Sofía Constanza" userId="bc780694-5ad3-4b43-9d08-68ceeeeb3a92" providerId="ADAL" clId="{78668647-0E4E-4D51-9C0E-13926B4FF229}" dt="2023-07-13T15:01:20.634" v="5390" actId="14100"/>
          <ac:spMkLst>
            <pc:docMk/>
            <pc:sldMk cId="1063732729" sldId="2147472594"/>
            <ac:spMk id="5" creationId="{00000000-0000-0000-0000-000000000000}"/>
          </ac:spMkLst>
        </pc:spChg>
        <pc:spChg chg="mod">
          <ac:chgData name="Brito Cortés, Sofía Constanza" userId="bc780694-5ad3-4b43-9d08-68ceeeeb3a92" providerId="ADAL" clId="{78668647-0E4E-4D51-9C0E-13926B4FF229}" dt="2023-07-13T15:01:43.228" v="5393" actId="14100"/>
          <ac:spMkLst>
            <pc:docMk/>
            <pc:sldMk cId="1063732729" sldId="2147472594"/>
            <ac:spMk id="9" creationId="{69C3A41C-F820-0352-6504-8553680263BB}"/>
          </ac:spMkLst>
        </pc:spChg>
        <pc:spChg chg="mod">
          <ac:chgData name="Brito Cortés, Sofía Constanza" userId="bc780694-5ad3-4b43-9d08-68ceeeeb3a92" providerId="ADAL" clId="{78668647-0E4E-4D51-9C0E-13926B4FF229}" dt="2023-07-13T15:01:32.697" v="5392" actId="14100"/>
          <ac:spMkLst>
            <pc:docMk/>
            <pc:sldMk cId="1063732729" sldId="2147472594"/>
            <ac:spMk id="10" creationId="{3CBEAD6F-F1C1-7AAF-A62F-652C6D10E52E}"/>
          </ac:spMkLst>
        </pc:spChg>
        <pc:spChg chg="add del mod">
          <ac:chgData name="Brito Cortés, Sofía Constanza" userId="bc780694-5ad3-4b43-9d08-68ceeeeb3a92" providerId="ADAL" clId="{78668647-0E4E-4D51-9C0E-13926B4FF229}" dt="2023-07-13T15:01:28.445" v="5391" actId="478"/>
          <ac:spMkLst>
            <pc:docMk/>
            <pc:sldMk cId="1063732729" sldId="2147472594"/>
            <ac:spMk id="11" creationId="{149BA6E5-72E1-AC1B-C13C-2DEBC717B189}"/>
          </ac:spMkLst>
        </pc:spChg>
      </pc:sldChg>
      <pc:sldMasterChg chg="delSldLayout modSldLayout sldLayoutOrd">
        <pc:chgData name="Brito Cortés, Sofía Constanza" userId="bc780694-5ad3-4b43-9d08-68ceeeeb3a92" providerId="ADAL" clId="{78668647-0E4E-4D51-9C0E-13926B4FF229}" dt="2023-07-13T15:51:45.458" v="5563" actId="20578"/>
        <pc:sldMasterMkLst>
          <pc:docMk/>
          <pc:sldMasterMk cId="195468931" sldId="2147483648"/>
        </pc:sldMasterMkLst>
        <pc:sldLayoutChg chg="del ord">
          <pc:chgData name="Brito Cortés, Sofía Constanza" userId="bc780694-5ad3-4b43-9d08-68ceeeeb3a92" providerId="ADAL" clId="{78668647-0E4E-4D51-9C0E-13926B4FF229}" dt="2023-07-13T15:49:18.586" v="5558" actId="2696"/>
          <pc:sldLayoutMkLst>
            <pc:docMk/>
            <pc:sldMasterMk cId="195468931" sldId="2147483648"/>
            <pc:sldLayoutMk cId="924123321" sldId="2147483649"/>
          </pc:sldLayoutMkLst>
        </pc:sldLayoutChg>
        <pc:sldLayoutChg chg="modSp mod">
          <pc:chgData name="Brito Cortés, Sofía Constanza" userId="bc780694-5ad3-4b43-9d08-68ceeeeb3a92" providerId="ADAL" clId="{78668647-0E4E-4D51-9C0E-13926B4FF229}" dt="2023-07-13T15:50:03.660" v="5560" actId="5793"/>
          <pc:sldLayoutMkLst>
            <pc:docMk/>
            <pc:sldMasterMk cId="195468931" sldId="2147483648"/>
            <pc:sldLayoutMk cId="839351526" sldId="2147483652"/>
          </pc:sldLayoutMkLst>
          <pc:spChg chg="mod">
            <ac:chgData name="Brito Cortés, Sofía Constanza" userId="bc780694-5ad3-4b43-9d08-68ceeeeb3a92" providerId="ADAL" clId="{78668647-0E4E-4D51-9C0E-13926B4FF229}" dt="2023-07-13T15:50:03.660" v="5560" actId="5793"/>
            <ac:spMkLst>
              <pc:docMk/>
              <pc:sldMasterMk cId="195468931" sldId="2147483648"/>
              <pc:sldLayoutMk cId="839351526" sldId="2147483652"/>
              <ac:spMk id="4" creationId="{00000000-0000-0000-0000-000000000000}"/>
            </ac:spMkLst>
          </pc:spChg>
        </pc:sldLayoutChg>
        <pc:sldLayoutChg chg="modSp mod">
          <pc:chgData name="Brito Cortés, Sofía Constanza" userId="bc780694-5ad3-4b43-9d08-68ceeeeb3a92" providerId="ADAL" clId="{78668647-0E4E-4D51-9C0E-13926B4FF229}" dt="2023-07-13T15:50:25.339" v="5562" actId="14100"/>
          <pc:sldLayoutMkLst>
            <pc:docMk/>
            <pc:sldMasterMk cId="195468931" sldId="2147483648"/>
            <pc:sldLayoutMk cId="2764344850" sldId="2147483658"/>
          </pc:sldLayoutMkLst>
          <pc:spChg chg="mod">
            <ac:chgData name="Brito Cortés, Sofía Constanza" userId="bc780694-5ad3-4b43-9d08-68ceeeeb3a92" providerId="ADAL" clId="{78668647-0E4E-4D51-9C0E-13926B4FF229}" dt="2023-07-13T15:50:21.484" v="5561" actId="14100"/>
            <ac:spMkLst>
              <pc:docMk/>
              <pc:sldMasterMk cId="195468931" sldId="2147483648"/>
              <pc:sldLayoutMk cId="2764344850" sldId="2147483658"/>
              <ac:spMk id="8" creationId="{359D21D7-380C-F4B2-4834-98816DBD5590}"/>
            </ac:spMkLst>
          </pc:spChg>
          <pc:spChg chg="mod">
            <ac:chgData name="Brito Cortés, Sofía Constanza" userId="bc780694-5ad3-4b43-9d08-68ceeeeb3a92" providerId="ADAL" clId="{78668647-0E4E-4D51-9C0E-13926B4FF229}" dt="2023-07-13T15:50:25.339" v="5562" actId="14100"/>
            <ac:spMkLst>
              <pc:docMk/>
              <pc:sldMasterMk cId="195468931" sldId="2147483648"/>
              <pc:sldLayoutMk cId="2764344850" sldId="2147483658"/>
              <ac:spMk id="10" creationId="{91900A05-BCAC-D961-2A18-DB1AFF8D3320}"/>
            </ac:spMkLst>
          </pc:spChg>
        </pc:sldLayoutChg>
        <pc:sldLayoutChg chg="ord">
          <pc:chgData name="Brito Cortés, Sofía Constanza" userId="bc780694-5ad3-4b43-9d08-68ceeeeb3a92" providerId="ADAL" clId="{78668647-0E4E-4D51-9C0E-13926B4FF229}" dt="2023-07-13T15:51:45.458" v="5563" actId="20578"/>
          <pc:sldLayoutMkLst>
            <pc:docMk/>
            <pc:sldMasterMk cId="195468931" sldId="2147483648"/>
            <pc:sldLayoutMk cId="2752245890" sldId="2147483660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xmlns="" id="{6B2790E3-B6ED-E7E6-5D07-82843B3EC0B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EE3A19C9-0F57-6475-631F-884B0E5B7A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FF8599-7029-4CF8-95BC-169911F75AAA}" type="datetimeFigureOut">
              <a:rPr lang="es-CL" smtClean="0"/>
              <a:t>23-02-2025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9866CBB2-CE96-B313-C552-1177FE96E0A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99EE2CCB-AE9F-49E3-9066-A616DDDDC4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7272DF-830D-4E4A-A62B-81CF43A0216D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567432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F30DF6-1775-470B-AB63-2D0DB4F8C554}" type="datetimeFigureOut">
              <a:rPr lang="es-CL" smtClean="0"/>
              <a:t>23-02-2025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7F3A76-3C4B-46A8-9478-22DCFEA7A81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3780973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301555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000279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54174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027315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225554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199272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331163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Desarrollar Reglamento de Circulación, incluir reglas de convivencia y distanciamiento de seguridad entre peatones y equipos (mínimo 3 mts.).</a:t>
            </a:r>
          </a:p>
          <a:p>
            <a:r>
              <a:rPr lang="es-ES" dirty="0"/>
              <a:t>Definir layout de circulación para equipos y peatones. Incluir barreras para separar flujos y proteger peatones.</a:t>
            </a:r>
          </a:p>
          <a:p>
            <a:r>
              <a:rPr lang="es-ES" dirty="0"/>
              <a:t>Prohibir peatones sin justificación y “atajos” por áreas de operación de equipos.</a:t>
            </a:r>
          </a:p>
          <a:p>
            <a:r>
              <a:rPr lang="es-ES" dirty="0"/>
              <a:t>Definir altura máxima de la carga transportada en equipos. No debe obstaculizar la visión del operador.</a:t>
            </a:r>
          </a:p>
          <a:p>
            <a:r>
              <a:rPr lang="es-ES" dirty="0"/>
              <a:t>Prohibir el uso de celular en áreas de operación. </a:t>
            </a:r>
          </a:p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5412533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Prohibir peatones sin justificación y “atajos” por áreas de operación de equipo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Identificar áreas de alto riesgo como cruces o puntos ciegos y aumentar restricciones, demarcaciones, señalización, espejos panorámicos, etc.</a:t>
            </a:r>
            <a:endParaRPr lang="es-CL" sz="12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Establecer velocidad máxima (recomendación: 10 km/h). Programar equipos o instalar limitadores de velocidad.</a:t>
            </a:r>
            <a:endParaRPr lang="es-CL" sz="12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r>
              <a:rPr lang="es-ES" dirty="0"/>
              <a:t>Definir uso obligatorio de ropa de alta visibilidad para toda persona.</a:t>
            </a:r>
            <a:endParaRPr lang="es-CL" dirty="0"/>
          </a:p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689196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Promover la capacitación y reforzamiento a trabajadores sobre los peligros de la interacción entre equipos y peatones.</a:t>
            </a:r>
            <a:endParaRPr lang="es-CL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Investigar todo tipo de incidentes relacionados a la operación de equipos de carga.</a:t>
            </a:r>
            <a:endParaRPr lang="es-CL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Realizar recorridos de seguridad y revisar acciones y condiciones inseguras, como:</a:t>
            </a:r>
          </a:p>
          <a:p>
            <a:pPr marL="285750" indent="-285750">
              <a:lnSpc>
                <a:spcPct val="150000"/>
              </a:lnSpc>
              <a:buClr>
                <a:srgbClr val="004B54"/>
              </a:buClr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Distanciamientos.</a:t>
            </a:r>
          </a:p>
          <a:p>
            <a:pPr marL="285750" indent="-285750">
              <a:lnSpc>
                <a:spcPct val="150000"/>
              </a:lnSpc>
              <a:buClr>
                <a:srgbClr val="004B54"/>
              </a:buClr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Protecciones.</a:t>
            </a:r>
          </a:p>
          <a:p>
            <a:pPr marL="285750" indent="-285750">
              <a:lnSpc>
                <a:spcPct val="150000"/>
              </a:lnSpc>
              <a:buClr>
                <a:srgbClr val="004B54"/>
              </a:buClr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Demarcaciones.</a:t>
            </a:r>
          </a:p>
          <a:p>
            <a:pPr marL="285750" indent="-285750">
              <a:lnSpc>
                <a:spcPct val="150000"/>
              </a:lnSpc>
              <a:buClr>
                <a:srgbClr val="004B54"/>
              </a:buClr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Señales de seguridad.</a:t>
            </a:r>
          </a:p>
          <a:p>
            <a:pPr marL="285750" indent="-285750">
              <a:lnSpc>
                <a:spcPct val="150000"/>
              </a:lnSpc>
              <a:buClr>
                <a:srgbClr val="004B54"/>
              </a:buClr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Uso de ropa de alta visibilidad.</a:t>
            </a:r>
          </a:p>
          <a:p>
            <a:pPr marL="285750" indent="-285750">
              <a:lnSpc>
                <a:spcPct val="150000"/>
              </a:lnSpc>
              <a:buClr>
                <a:srgbClr val="004B54"/>
              </a:buClr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Peatones en áreas de operación.</a:t>
            </a:r>
          </a:p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3590906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Respetar distancia de seguridad entre peatones y equipos (mínimo 3 mts.).</a:t>
            </a:r>
            <a:endParaRPr lang="es-CL" sz="12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No obstaculizar la visión al trasladar carga con equipos.</a:t>
            </a:r>
            <a:endParaRPr lang="es-CL" sz="12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r>
              <a:rPr lang="es-ES" sz="12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Usar pasillo peatonal. Evitar ingreso a área de operación.</a:t>
            </a:r>
            <a:endParaRPr lang="es-CL" sz="12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Tocar bocina y disminuir velocidad en salidas de racks, ingreso o salida de bodega, etc.</a:t>
            </a:r>
            <a:endParaRPr lang="es-CL" dirty="0"/>
          </a:p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31432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2879706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Detenerse, mirar y escuchar antes de ingresar a un área con equipos en movimiento. Hacer contacto visual con operadores y esperar preferencia de paso.</a:t>
            </a:r>
            <a:endParaRPr lang="es-CL" sz="12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No usar distractores al caminar o al operar equipos.</a:t>
            </a:r>
            <a:endParaRPr lang="es-CL" sz="12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Operar equipos a velocidad moderada (recomendación: 10 km/h). </a:t>
            </a:r>
            <a:endParaRPr lang="es-CL" sz="12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Usar ropa de alta visibilidad.</a:t>
            </a:r>
            <a:endParaRPr lang="es-CL" sz="12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4303129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316708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922696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473627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es-CL" sz="1200" dirty="0">
                <a:solidFill>
                  <a:prstClr val="black"/>
                </a:solidFill>
              </a:rPr>
              <a:t>El equipo Grúa Horquilla Reach o simplemente “Grúa Reach”, da a los usuarios gran versatilidad, ya que el</a:t>
            </a:r>
            <a:r>
              <a:rPr lang="x-none" sz="1200" dirty="0">
                <a:solidFill>
                  <a:prstClr val="black"/>
                </a:solidFill>
              </a:rPr>
              <a:t> </a:t>
            </a:r>
            <a:r>
              <a:rPr lang="es-CL" sz="1200" dirty="0">
                <a:solidFill>
                  <a:prstClr val="black"/>
                </a:solidFill>
              </a:rPr>
              <a:t>trabajador puede operar completamente la unidad sentado en la cabina para realizar movimiento de</a:t>
            </a:r>
            <a:r>
              <a:rPr lang="x-none" sz="1200" dirty="0">
                <a:solidFill>
                  <a:prstClr val="black"/>
                </a:solidFill>
              </a:rPr>
              <a:t> </a:t>
            </a:r>
            <a:r>
              <a:rPr lang="es-CL" sz="1200" dirty="0">
                <a:solidFill>
                  <a:prstClr val="black"/>
                </a:solidFill>
              </a:rPr>
              <a:t>desplazamiento horizontal y carga o descarga en altura. Circulando cómodamente en los pasillos de</a:t>
            </a:r>
            <a:r>
              <a:rPr lang="x-none" sz="1200" dirty="0">
                <a:solidFill>
                  <a:prstClr val="black"/>
                </a:solidFill>
              </a:rPr>
              <a:t> </a:t>
            </a:r>
            <a:r>
              <a:rPr lang="es-CL" sz="1200" dirty="0">
                <a:solidFill>
                  <a:prstClr val="black"/>
                </a:solidFill>
              </a:rPr>
              <a:t>almacenamiento y áreas libres para el transporte de la carga.</a:t>
            </a:r>
            <a:endParaRPr lang="x-none" sz="1200" dirty="0">
              <a:solidFill>
                <a:prstClr val="black"/>
              </a:solidFill>
            </a:endParaRPr>
          </a:p>
          <a:p>
            <a:pPr algn="just"/>
            <a:endParaRPr lang="es-CL" sz="1200" dirty="0">
              <a:solidFill>
                <a:prstClr val="black"/>
              </a:solidFill>
            </a:endParaRPr>
          </a:p>
          <a:p>
            <a:pPr algn="just"/>
            <a:r>
              <a:rPr lang="es-CL" sz="1200" dirty="0">
                <a:solidFill>
                  <a:prstClr val="black"/>
                </a:solidFill>
              </a:rPr>
              <a:t>Para su desplazamiento cuenta con un motor eléctrico que permite su autopropulsión.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627884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416568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9661262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962471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137841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8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svg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svg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svg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4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svg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27.xml"/><Relationship Id="rId7" Type="http://schemas.openxmlformats.org/officeDocument/2006/relationships/image" Target="../media/image18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svg"/><Relationship Id="rId2" Type="http://schemas.openxmlformats.org/officeDocument/2006/relationships/tags" Target="../tags/tag2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0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3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svg"/><Relationship Id="rId2" Type="http://schemas.openxmlformats.org/officeDocument/2006/relationships/tags" Target="../tags/tag3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xmlns="" id="{71896C39-28BA-07D2-C053-6D9004496C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84657" y="407975"/>
            <a:ext cx="987281" cy="15571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8876268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lantilla Fondo 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52117460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41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xmlns="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xmlns="" id="{B4AC05A8-6F26-1747-B12A-BE1550B3119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xmlns="" id="{DBE2402C-572A-E54D-89B2-51E1457F876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</a:t>
            </a:r>
          </a:p>
          <a:p>
            <a:pPr lvl="0"/>
            <a:r>
              <a:rPr lang="es-ES" dirty="0"/>
              <a:t>60 puntos</a:t>
            </a:r>
          </a:p>
        </p:txBody>
      </p:sp>
      <p:pic>
        <p:nvPicPr>
          <p:cNvPr id="29" name="Picture 8">
            <a:extLst>
              <a:ext uri="{FF2B5EF4-FFF2-40B4-BE49-F238E27FC236}">
                <a16:creationId xmlns:a16="http://schemas.microsoft.com/office/drawing/2014/main" xmlns="" id="{66A7FDD3-3C87-BA44-9EF5-6C8FBF3FD28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xmlns="" id="{4879D5D4-8146-2A49-8F80-B0C7066E601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6435" y="391614"/>
            <a:ext cx="1380931" cy="645524"/>
          </a:xfrm>
          <a:prstGeom prst="rect">
            <a:avLst/>
          </a:prstGeom>
        </p:spPr>
      </p:pic>
      <p:cxnSp>
        <p:nvCxnSpPr>
          <p:cNvPr id="31" name="Conector recto 18">
            <a:extLst>
              <a:ext uri="{FF2B5EF4-FFF2-40B4-BE49-F238E27FC236}">
                <a16:creationId xmlns:a16="http://schemas.microsoft.com/office/drawing/2014/main" xmlns="" id="{11AADCC8-85D5-114B-AB66-337BB54910C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Marcador de texto 7">
            <a:extLst>
              <a:ext uri="{FF2B5EF4-FFF2-40B4-BE49-F238E27FC236}">
                <a16:creationId xmlns:a16="http://schemas.microsoft.com/office/drawing/2014/main" xmlns="" id="{0D2FB7A0-285F-F948-8825-44FEE251C0C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3737937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95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2926D599-3B4A-C002-D5B7-B37757C0816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xmlns="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13A030F1-8C68-6FA1-A478-4B363603B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83964E4E-F3B8-8015-6515-E5D28B970B8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0" name="Conector recto 18">
            <a:extLst>
              <a:ext uri="{FF2B5EF4-FFF2-40B4-BE49-F238E27FC236}">
                <a16:creationId xmlns:a16="http://schemas.microsoft.com/office/drawing/2014/main" xmlns="" id="{85DBE383-25F8-646B-4984-CBAB44AACC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xmlns="" id="{61F59BDD-7576-9594-0ABA-4623B21DF95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15728335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8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:a16="http://schemas.microsoft.com/office/drawing/2014/main" xmlns="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:a16="http://schemas.microsoft.com/office/drawing/2014/main" xmlns="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:a16="http://schemas.microsoft.com/office/drawing/2014/main" xmlns="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xmlns="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xmlns="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:a16="http://schemas.microsoft.com/office/drawing/2014/main" xmlns="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:a16="http://schemas.microsoft.com/office/drawing/2014/main" xmlns="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xmlns="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xmlns="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:a16="http://schemas.microsoft.com/office/drawing/2014/main" xmlns="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:a16="http://schemas.microsoft.com/office/drawing/2014/main" xmlns="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xmlns="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7327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9" name="Conector recto 18">
            <a:extLst>
              <a:ext uri="{FF2B5EF4-FFF2-40B4-BE49-F238E27FC236}">
                <a16:creationId xmlns:a16="http://schemas.microsoft.com/office/drawing/2014/main" xmlns="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xmlns="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xmlns="" id="{C106790C-406C-F654-4183-98176C2B8C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14466107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66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496571"/>
            <a:ext cx="9849281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000" b="0" i="0" u="none" strike="noStrike" cap="none" spc="0" baseline="0" dirty="0">
                <a:solidFill>
                  <a:schemeClr val="accent5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9262" y="1159880"/>
            <a:ext cx="9849281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5" name="Conector recto 18">
            <a:extLst>
              <a:ext uri="{FF2B5EF4-FFF2-40B4-BE49-F238E27FC236}">
                <a16:creationId xmlns:a16="http://schemas.microsoft.com/office/drawing/2014/main" xmlns="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xmlns="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Círculo">
            <a:extLst>
              <a:ext uri="{FF2B5EF4-FFF2-40B4-BE49-F238E27FC236}">
                <a16:creationId xmlns:a16="http://schemas.microsoft.com/office/drawing/2014/main" xmlns="" id="{B013BD41-287C-1A57-DF87-979E3985710F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Círculo">
            <a:extLst>
              <a:ext uri="{FF2B5EF4-FFF2-40B4-BE49-F238E27FC236}">
                <a16:creationId xmlns:a16="http://schemas.microsoft.com/office/drawing/2014/main" xmlns="" id="{038593C4-09B1-CC43-03A6-1E570B7E9230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:a16="http://schemas.microsoft.com/office/drawing/2014/main" xmlns="" id="{64C3536A-DB1D-5F9D-A859-EF83745A0F3C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:a16="http://schemas.microsoft.com/office/drawing/2014/main" xmlns="" id="{F0E96976-20F5-C9D2-DB6C-2972F6ADC8ED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:a16="http://schemas.microsoft.com/office/drawing/2014/main" xmlns="" id="{8284F20C-5834-107A-6C61-4581EF210267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xmlns="" id="{B90B81C4-637D-FE03-E21B-DA820BA3405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xmlns="" id="{EF616713-76ED-1DF7-A5AF-E647F10E69B4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xmlns="" id="{E84A4A24-CB9F-C923-AFB2-BB380632CC49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xmlns="" id="{0ABF032F-0128-3042-C572-D475BC9EE629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3406777C-366A-BBCE-2030-CB4475CFAEAC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:a16="http://schemas.microsoft.com/office/drawing/2014/main" xmlns="" id="{12C0B682-0695-8ABA-7305-F19C5602C945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:a16="http://schemas.microsoft.com/office/drawing/2014/main" xmlns="" id="{DB299067-D620-B2F3-D94C-C61BF550AE28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xmlns="" id="{82552B1E-5A98-21B5-3B5F-3DFF71BE7B09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xmlns="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26851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6253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9567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407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8750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="" xmlns:a16="http://schemas.microsoft.com/office/drawing/2014/main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="" xmlns:a16="http://schemas.microsoft.com/office/drawing/2014/main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="" xmlns:a16="http://schemas.microsoft.com/office/drawing/2014/main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="" xmlns:a16="http://schemas.microsoft.com/office/drawing/2014/main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9966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8114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v2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26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438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="" xmlns:a16="http://schemas.microsoft.com/office/drawing/2014/main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="" xmlns:a16="http://schemas.microsoft.com/office/drawing/2014/main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930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21206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1299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3702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="" xmlns:a16="http://schemas.microsoft.com/office/drawing/2014/main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73414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39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4699" y="2291214"/>
            <a:ext cx="874223" cy="2519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pic>
        <p:nvPicPr>
          <p:cNvPr id="9" name="Gráfico 2">
            <a:extLst>
              <a:ext uri="{FF2B5EF4-FFF2-40B4-BE49-F238E27FC236}">
                <a16:creationId xmlns:a16="http://schemas.microsoft.com/office/drawing/2014/main" xmlns="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0489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2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BF82C2D2-470B-340E-2C53-AE2D841982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871C39F7-EBC2-2D1D-3771-B165ED5021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pic>
        <p:nvPicPr>
          <p:cNvPr id="6" name="Gráfico 2">
            <a:extLst>
              <a:ext uri="{FF2B5EF4-FFF2-40B4-BE49-F238E27FC236}">
                <a16:creationId xmlns:a16="http://schemas.microsoft.com/office/drawing/2014/main" xmlns="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2935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xmlns="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8524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4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7905" y="6307024"/>
            <a:ext cx="1039662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321" y="1881407"/>
            <a:ext cx="9656127" cy="309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</a:p>
          <a:p>
            <a:pPr lvl="0"/>
            <a:r>
              <a:rPr lang="es-ES" dirty="0"/>
              <a:t>Arial Bold - 60 puntos</a:t>
            </a:r>
            <a:endParaRPr lang="es-CL" dirty="0"/>
          </a:p>
        </p:txBody>
      </p:sp>
      <p:pic>
        <p:nvPicPr>
          <p:cNvPr id="7" name="Gráfico 6">
            <a:extLst>
              <a:ext uri="{FF2B5EF4-FFF2-40B4-BE49-F238E27FC236}">
                <a16:creationId xmlns="" xmlns:a16="http://schemas.microsoft.com/office/drawing/2014/main" id="{DFB54729-0CF1-4AB4-9937-C811A0CD9D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32900" y="1"/>
            <a:ext cx="2959100" cy="2959100"/>
          </a:xfrm>
          <a:prstGeom prst="rect">
            <a:avLst/>
          </a:prstGeom>
        </p:spPr>
      </p:pic>
      <p:pic>
        <p:nvPicPr>
          <p:cNvPr id="9" name="Gráfico 3">
            <a:extLst>
              <a:ext uri="{FF2B5EF4-FFF2-40B4-BE49-F238E27FC236}">
                <a16:creationId xmlns:a16="http://schemas.microsoft.com/office/drawing/2014/main" xmlns="" id="{A9074783-5EE3-1AC8-78B3-3BBE53D6D9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47321" y="386737"/>
            <a:ext cx="1922822" cy="79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177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6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97982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299" y="2413732"/>
            <a:ext cx="397982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Regular - 30 puntos</a:t>
            </a:r>
            <a:endParaRPr lang="es-CL" dirty="0"/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xmlns="" id="{98BA7C6B-DB5F-EE2E-B534-7324B6BC8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076" y="-130002"/>
            <a:ext cx="8862495" cy="7495698"/>
          </a:xfrm>
          <a:prstGeom prst="rect">
            <a:avLst/>
          </a:prstGeom>
        </p:spPr>
      </p:pic>
      <p:pic>
        <p:nvPicPr>
          <p:cNvPr id="11" name="Gráfico 7">
            <a:extLst>
              <a:ext uri="{FF2B5EF4-FFF2-40B4-BE49-F238E27FC236}">
                <a16:creationId xmlns:a16="http://schemas.microsoft.com/office/drawing/2014/main" xmlns="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8586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(v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0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586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5 con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49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- 36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sp>
        <p:nvSpPr>
          <p:cNvPr id="11" name="Marcador de medios 2">
            <a:extLst>
              <a:ext uri="{FF2B5EF4-FFF2-40B4-BE49-F238E27FC236}">
                <a16:creationId xmlns:a16="http://schemas.microsoft.com/office/drawing/2014/main" xmlns="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pic>
        <p:nvPicPr>
          <p:cNvPr id="9" name="Gráfico 7">
            <a:extLst>
              <a:ext uri="{FF2B5EF4-FFF2-40B4-BE49-F238E27FC236}">
                <a16:creationId xmlns:a16="http://schemas.microsoft.com/office/drawing/2014/main" xmlns="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42913" y="5946684"/>
            <a:ext cx="1223790" cy="50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245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err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16" name="Diapositiva de think-cell" r:id="rId5" imgW="395" imgH="396" progId="TCLayout.ActiveDocument.1">
                  <p:embed/>
                </p:oleObj>
              </mc:Choice>
              <mc:Fallback>
                <p:oleObj name="Diapositiva de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:a16="http://schemas.microsoft.com/office/drawing/2014/main" xmlns="" id="{55A1FD02-61B9-9362-9931-2500DDF39A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881331" y="2512390"/>
            <a:ext cx="4429338" cy="183321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4929457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:a16="http://schemas.microsoft.com/office/drawing/2014/main" xmlns="" id="{0379CD50-C859-A3A9-6E4D-42577F1239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881338" y="2512391"/>
            <a:ext cx="4429324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7795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6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53813F30-C9BF-C3FA-97C6-539F7B586C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CL" dirty="0" smtClean="0"/>
              <a:t>Texto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6FB70D57-6140-544B-66BD-B9086F39FE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9B54E3A-1114-3FDB-72FE-1E2602E9D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pic>
        <p:nvPicPr>
          <p:cNvPr id="8" name="Gráfico 2">
            <a:extLst>
              <a:ext uri="{FF2B5EF4-FFF2-40B4-BE49-F238E27FC236}">
                <a16:creationId xmlns:a16="http://schemas.microsoft.com/office/drawing/2014/main" xmlns="" id="{E3F7E20D-B774-856A-0346-DD0814DF82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866002" y="5428821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6301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  <a:r>
              <a:rPr lang="es-ES" dirty="0" smtClean="0"/>
              <a:t>Regular</a:t>
            </a:r>
            <a:br>
              <a:rPr lang="es-ES" dirty="0" smtClean="0"/>
            </a:br>
            <a:r>
              <a:rPr lang="es-ES" dirty="0" smtClean="0"/>
              <a:t>60 </a:t>
            </a:r>
            <a:r>
              <a:rPr lang="es-ES" dirty="0"/>
              <a:t>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9"/>
            <a:ext cx="1380931" cy="1380931"/>
          </a:xfrm>
          <a:prstGeom prst="rect">
            <a:avLst/>
          </a:prstGeom>
        </p:spPr>
      </p:pic>
      <p:pic>
        <p:nvPicPr>
          <p:cNvPr id="6" name="Gráfico 1">
            <a:extLst>
              <a:ext uri="{FF2B5EF4-FFF2-40B4-BE49-F238E27FC236}">
                <a16:creationId xmlns:a16="http://schemas.microsoft.com/office/drawing/2014/main" xmlns="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7843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8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01FF962A-1313-2AFA-B1E2-6B5A9591AD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913" y="512763"/>
            <a:ext cx="11341100" cy="565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="" xmlns:a16="http://schemas.microsoft.com/office/drawing/2014/main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7" name="Marcador de pie de página 2">
            <a:extLst>
              <a:ext uri="{FF2B5EF4-FFF2-40B4-BE49-F238E27FC236}">
                <a16:creationId xmlns="" xmlns:a16="http://schemas.microsoft.com/office/drawing/2014/main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8" name="Gráfico 2">
            <a:extLst>
              <a:ext uri="{FF2B5EF4-FFF2-40B4-BE49-F238E27FC236}">
                <a16:creationId xmlns:a16="http://schemas.microsoft.com/office/drawing/2014/main" xmlns="" id="{A64637E1-155F-2BEB-4A13-EFCF598D09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42913" y="5658759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0028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1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1">
            <a:extLst>
              <a:ext uri="{FF2B5EF4-FFF2-40B4-BE49-F238E27FC236}">
                <a16:creationId xmlns="" xmlns:a16="http://schemas.microsoft.com/office/drawing/2014/main" id="{817A15A5-B715-CEBF-D3E2-601769F1BD85}"/>
              </a:ext>
            </a:extLst>
          </p:cNvPr>
          <p:cNvSpPr/>
          <p:nvPr userDrawn="1"/>
        </p:nvSpPr>
        <p:spPr>
          <a:xfrm>
            <a:off x="425451" y="602669"/>
            <a:ext cx="11341099" cy="565266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="" xmlns:a16="http://schemas.microsoft.com/office/drawing/2014/main" id="{2893AAB8-CDEC-DF57-25D7-289B58ACCA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93704" y="4883056"/>
            <a:ext cx="1380931" cy="138093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FA4EA27C-2903-E664-A909-96FA2D6C6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236" y="1033743"/>
            <a:ext cx="9953528" cy="47905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="" xmlns:a16="http://schemas.microsoft.com/office/drawing/2014/main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1" name="Marcador de pie de página 2">
            <a:extLst>
              <a:ext uri="{FF2B5EF4-FFF2-40B4-BE49-F238E27FC236}">
                <a16:creationId xmlns="" xmlns:a16="http://schemas.microsoft.com/office/drawing/2014/main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12" name="Gráfico 1">
            <a:extLst>
              <a:ext uri="{FF2B5EF4-FFF2-40B4-BE49-F238E27FC236}">
                <a16:creationId xmlns:a16="http://schemas.microsoft.com/office/drawing/2014/main" xmlns="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121041" y="5297738"/>
            <a:ext cx="1246475" cy="51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756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 (v3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4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xmlns="" id="{E46B8A13-51DC-F04C-9EED-240EDB6B8C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722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 (v4)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22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09003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exto y bullets letra 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:a16="http://schemas.microsoft.com/office/drawing/2014/main" xmlns="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:a16="http://schemas.microsoft.com/office/drawing/2014/main" xmlns="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xmlns="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xmlns="" id="{2E78D33D-6F6F-A04D-B578-2397F07FCA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20313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2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xmlns="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9">
            <a:extLst>
              <a:ext uri="{FF2B5EF4-FFF2-40B4-BE49-F238E27FC236}">
                <a16:creationId xmlns:a16="http://schemas.microsoft.com/office/drawing/2014/main" xmlns="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906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 co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051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4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xmlns="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9">
            <a:extLst>
              <a:ext uri="{FF2B5EF4-FFF2-40B4-BE49-F238E27FC236}">
                <a16:creationId xmlns:a16="http://schemas.microsoft.com/office/drawing/2014/main" xmlns="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DE677A26-BE7F-5A48-9368-787E9C243E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781169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5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:a16="http://schemas.microsoft.com/office/drawing/2014/main" xmlns="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95F87F97-8491-0A1C-B28E-C9EF834761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32" y="5394193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142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18" Type="http://schemas.openxmlformats.org/officeDocument/2006/relationships/image" Target="../media/image11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oleObject" Target="../embeddings/oleObject13.bin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20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1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vmlDrawing" Target="../drawings/vmlDrawing1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31700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" name="Diapositiva de think-cell" r:id="rId18" imgW="415" imgH="416" progId="TCLayout.ActiveDocument.1">
                  <p:embed/>
                </p:oleObj>
              </mc:Choice>
              <mc:Fallback>
                <p:oleObj name="Diapositiva de think-cell" r:id="rId18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32A4F985-5364-6E40-4A83-23C6EC548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:a16="http://schemas.microsoft.com/office/drawing/2014/main" xmlns="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custDataLst>
      <p:tags r:id="rId16"/>
    </p:custDataLst>
    <p:extLst>
      <p:ext uri="{BB962C8B-B14F-4D97-AF65-F5344CB8AC3E}">
        <p14:creationId xmlns:p14="http://schemas.microsoft.com/office/powerpoint/2010/main" val="195468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701" r:id="rId2"/>
    <p:sldLayoutId id="2147483697" r:id="rId3"/>
    <p:sldLayoutId id="2147483698" r:id="rId4"/>
    <p:sldLayoutId id="2147483700" r:id="rId5"/>
    <p:sldLayoutId id="2147483702" r:id="rId6"/>
    <p:sldLayoutId id="2147483666" r:id="rId7"/>
    <p:sldLayoutId id="2147483699" r:id="rId8"/>
    <p:sldLayoutId id="2147483667" r:id="rId9"/>
    <p:sldLayoutId id="2147483703" r:id="rId10"/>
    <p:sldLayoutId id="2147483689" r:id="rId11"/>
    <p:sldLayoutId id="2147483696" r:id="rId12"/>
    <p:sldLayoutId id="2147483695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="" xmlns:a16="http://schemas.microsoft.com/office/drawing/2014/main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3-02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76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="" xmlns:a16="http://schemas.microsoft.com/office/drawing/2014/main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72" name="Diapositiva de think-cell" r:id="rId17" imgW="395" imgH="396" progId="TCLayout.ActiveDocument.1">
                  <p:embed/>
                </p:oleObj>
              </mc:Choice>
              <mc:Fallback>
                <p:oleObj name="Diapositiva de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5"/>
    </p:custDataLst>
    <p:extLst>
      <p:ext uri="{BB962C8B-B14F-4D97-AF65-F5344CB8AC3E}">
        <p14:creationId xmlns:p14="http://schemas.microsoft.com/office/powerpoint/2010/main" val="2466113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0" i="0" u="none" strike="noStrike" kern="1200" cap="none" spc="0" normalizeH="0" baseline="0" dirty="0" smtClean="0">
          <a:ln>
            <a:noFill/>
          </a:ln>
          <a:solidFill>
            <a:srgbClr val="15BF45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79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orient="horz" pos="323">
          <p15:clr>
            <a:srgbClr val="F26B43"/>
          </p15:clr>
        </p15:guide>
        <p15:guide id="7" orient="horz" pos="40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Relationship Id="rId6" Type="http://schemas.openxmlformats.org/officeDocument/2006/relationships/image" Target="../media/image14.svg"/><Relationship Id="rId5" Type="http://schemas.openxmlformats.org/officeDocument/2006/relationships/image" Target="../media/image25.png"/><Relationship Id="rId4" Type="http://schemas.openxmlformats.org/officeDocument/2006/relationships/image" Target="../media/image24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emf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8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1.xml"/><Relationship Id="rId6" Type="http://schemas.openxmlformats.org/officeDocument/2006/relationships/image" Target="../media/image37.emf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4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5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Relationship Id="rId9" Type="http://schemas.openxmlformats.org/officeDocument/2006/relationships/image" Target="../media/image5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6.xml"/><Relationship Id="rId6" Type="http://schemas.openxmlformats.org/officeDocument/2006/relationships/image" Target="../media/image51.png"/><Relationship Id="rId5" Type="http://schemas.openxmlformats.org/officeDocument/2006/relationships/image" Target="../media/image47.png"/><Relationship Id="rId4" Type="http://schemas.openxmlformats.org/officeDocument/2006/relationships/image" Target="../media/image5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7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8.xml"/><Relationship Id="rId5" Type="http://schemas.openxmlformats.org/officeDocument/2006/relationships/image" Target="../media/image59.emf"/><Relationship Id="rId4" Type="http://schemas.openxmlformats.org/officeDocument/2006/relationships/image" Target="../media/image58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emf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9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emf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68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0.xml"/><Relationship Id="rId6" Type="http://schemas.openxmlformats.org/officeDocument/2006/relationships/image" Target="../media/image67.emf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3.xml"/><Relationship Id="rId6" Type="http://schemas.openxmlformats.org/officeDocument/2006/relationships/image" Target="../media/image30.emf"/><Relationship Id="rId5" Type="http://schemas.openxmlformats.org/officeDocument/2006/relationships/image" Target="../media/image29.emf"/><Relationship Id="rId4" Type="http://schemas.openxmlformats.org/officeDocument/2006/relationships/image" Target="../media/image28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71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1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emf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73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2.xml"/><Relationship Id="rId6" Type="http://schemas.openxmlformats.org/officeDocument/2006/relationships/image" Target="../media/image72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emf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67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3.xml"/><Relationship Id="rId6" Type="http://schemas.openxmlformats.org/officeDocument/2006/relationships/image" Target="../media/image68.emf"/><Relationship Id="rId5" Type="http://schemas.openxmlformats.org/officeDocument/2006/relationships/image" Target="../media/image66.png"/><Relationship Id="rId4" Type="http://schemas.openxmlformats.org/officeDocument/2006/relationships/image" Target="../media/image74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4.xml"/><Relationship Id="rId4" Type="http://schemas.openxmlformats.org/officeDocument/2006/relationships/image" Target="../media/image7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5.xml"/><Relationship Id="rId4" Type="http://schemas.openxmlformats.org/officeDocument/2006/relationships/image" Target="../media/image4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6.xml"/><Relationship Id="rId6" Type="http://schemas.openxmlformats.org/officeDocument/2006/relationships/image" Target="../media/image80.png"/><Relationship Id="rId5" Type="http://schemas.openxmlformats.org/officeDocument/2006/relationships/image" Target="../media/image59.svg"/><Relationship Id="rId4" Type="http://schemas.openxmlformats.org/officeDocument/2006/relationships/image" Target="../media/image7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7.xml"/><Relationship Id="rId6" Type="http://schemas.openxmlformats.org/officeDocument/2006/relationships/image" Target="../media/image81.png"/><Relationship Id="rId5" Type="http://schemas.openxmlformats.org/officeDocument/2006/relationships/image" Target="../media/image59.svg"/><Relationship Id="rId4" Type="http://schemas.openxmlformats.org/officeDocument/2006/relationships/image" Target="../media/image79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1.xml"/><Relationship Id="rId1" Type="http://schemas.openxmlformats.org/officeDocument/2006/relationships/tags" Target="../tags/tag5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.xml"/><Relationship Id="rId4" Type="http://schemas.openxmlformats.org/officeDocument/2006/relationships/image" Target="../media/image3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.xml"/><Relationship Id="rId4" Type="http://schemas.openxmlformats.org/officeDocument/2006/relationships/image" Target="../media/image3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6.xml"/><Relationship Id="rId4" Type="http://schemas.openxmlformats.org/officeDocument/2006/relationships/image" Target="../media/image3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7.xml"/><Relationship Id="rId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9.xml"/><Relationship Id="rId4" Type="http://schemas.openxmlformats.org/officeDocument/2006/relationships/image" Target="../media/image3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0.xml"/><Relationship Id="rId4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D982FD60-F640-3C4A-B556-EC2D2BEABA1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744" r="5744"/>
          <a:stretch/>
        </p:blipFill>
        <p:spPr>
          <a:xfrm>
            <a:off x="-2" y="-2"/>
            <a:ext cx="12192001" cy="6858000"/>
          </a:xfrm>
          <a:prstGeom prst="rect">
            <a:avLst/>
          </a:prstGeom>
        </p:spPr>
      </p:pic>
      <p:sp>
        <p:nvSpPr>
          <p:cNvPr id="2" name="Marcador de texto 1">
            <a:extLst>
              <a:ext uri="{FF2B5EF4-FFF2-40B4-BE49-F238E27FC236}">
                <a16:creationId xmlns:a16="http://schemas.microsoft.com/office/drawing/2014/main" xmlns="" id="{345E0EEB-782B-48CE-950A-41203BE24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263" y="4937948"/>
            <a:ext cx="4713288" cy="1178039"/>
          </a:xfrm>
        </p:spPr>
        <p:txBody>
          <a:bodyPr>
            <a:normAutofit/>
          </a:bodyPr>
          <a:lstStyle/>
          <a:p>
            <a:r>
              <a:rPr lang="es-CL" sz="2400" dirty="0">
                <a:solidFill>
                  <a:schemeClr val="bg1"/>
                </a:solidFill>
                <a:latin typeface="ACHS Nueva Serif" pitchFamily="2" charset="77"/>
              </a:rPr>
              <a:t>Seguridad en la prevención de equipos para el movimiento de carga – Grúa Horquilla Reach</a:t>
            </a:r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xmlns="" id="{9B6F3F69-2E30-4F59-BB59-33F05425873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 rot="16200000">
            <a:off x="0" y="0"/>
            <a:ext cx="2811779" cy="2811779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xmlns="" id="{B9AAB87F-0217-49FC-8A93-1B1E4787974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980835" y="407974"/>
            <a:ext cx="794926" cy="794926"/>
          </a:xfrm>
          <a:prstGeom prst="rect">
            <a:avLst/>
          </a:prstGeom>
        </p:spPr>
      </p:pic>
      <p:sp>
        <p:nvSpPr>
          <p:cNvPr id="3" name="Rectángulo redondeado 2">
            <a:extLst>
              <a:ext uri="{FF2B5EF4-FFF2-40B4-BE49-F238E27FC236}">
                <a16:creationId xmlns:a16="http://schemas.microsoft.com/office/drawing/2014/main" xmlns="" id="{7E0C2104-DC15-7C4B-BD0B-23CF23EA3110}"/>
              </a:ext>
            </a:extLst>
          </p:cNvPr>
          <p:cNvSpPr/>
          <p:nvPr/>
        </p:nvSpPr>
        <p:spPr>
          <a:xfrm>
            <a:off x="449263" y="4398147"/>
            <a:ext cx="2532476" cy="377072"/>
          </a:xfrm>
          <a:prstGeom prst="roundRect">
            <a:avLst>
              <a:gd name="adj" fmla="val 2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chemeClr val="bg2"/>
                </a:solidFill>
                <a:latin typeface="ACHS Nueva Sans Medium" pitchFamily="2" charset="77"/>
              </a:rPr>
              <a:t>Charla / </a:t>
            </a:r>
            <a:r>
              <a:rPr lang="es-CL" dirty="0" smtClean="0">
                <a:solidFill>
                  <a:schemeClr val="bg2"/>
                </a:solidFill>
                <a:latin typeface="ACHS Nueva Sans Medium" pitchFamily="2" charset="77"/>
              </a:rPr>
              <a:t>Presencial</a:t>
            </a:r>
            <a:endParaRPr lang="es-CL" dirty="0">
              <a:solidFill>
                <a:schemeClr val="bg2"/>
              </a:solidFill>
              <a:latin typeface="ACHS Nueva Sans Medium" pitchFamily="2" charset="77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6436906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Para labores asociadas a la </a:t>
            </a:r>
            <a:r>
              <a:rPr lang="es-CL" b="1" dirty="0">
                <a:latin typeface="ACHS Nueva Serif" pitchFamily="2" charset="77"/>
              </a:rPr>
              <a:t>“Grúa Horquilla Reach”</a:t>
            </a:r>
            <a:r>
              <a:rPr lang="es-CL" dirty="0">
                <a:latin typeface="ACHS Nueva Serif" pitchFamily="2" charset="77"/>
              </a:rPr>
              <a:t>, utiliza siempre</a:t>
            </a:r>
            <a:endParaRPr lang="x-none" dirty="0">
              <a:latin typeface="ACHS Nueva Serif" pitchFamily="2" charset="77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29E0E0A8-7DBF-8547-9B3C-2578D867E6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89024" y="3255292"/>
            <a:ext cx="1308516" cy="979920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xmlns="" id="{908EDF56-32AF-784E-B8ED-E6C0EAA55D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2766" y="3292340"/>
            <a:ext cx="1127675" cy="790380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A72DE78B-8910-F341-9718-08372C6783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9494" y="3488822"/>
            <a:ext cx="1269041" cy="421342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4D750CAC-86C7-314E-90F2-0C31A4E239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64818" y="3178276"/>
            <a:ext cx="1155623" cy="1155623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xmlns="" id="{94227B2B-E6C1-2F46-8063-74D89DAD6D3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02975" y="3228248"/>
            <a:ext cx="890648" cy="100696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9228828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Y sigue estas recomendaciones</a:t>
            </a:r>
          </a:p>
        </p:txBody>
      </p:sp>
      <p:sp>
        <p:nvSpPr>
          <p:cNvPr id="85" name="Forma libre 84">
            <a:extLst>
              <a:ext uri="{FF2B5EF4-FFF2-40B4-BE49-F238E27FC236}">
                <a16:creationId xmlns:a16="http://schemas.microsoft.com/office/drawing/2014/main" xmlns="" id="{DEF81100-0A60-8949-AE7F-E27E11084FF6}"/>
              </a:ext>
            </a:extLst>
          </p:cNvPr>
          <p:cNvSpPr/>
          <p:nvPr/>
        </p:nvSpPr>
        <p:spPr>
          <a:xfrm flipV="1">
            <a:off x="1124022" y="1616846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86" name="Elipse 85">
            <a:extLst>
              <a:ext uri="{FF2B5EF4-FFF2-40B4-BE49-F238E27FC236}">
                <a16:creationId xmlns:a16="http://schemas.microsoft.com/office/drawing/2014/main" xmlns="" id="{AEFA1DC0-681D-E640-B566-8E301B3A0D2F}"/>
              </a:ext>
            </a:extLst>
          </p:cNvPr>
          <p:cNvSpPr/>
          <p:nvPr/>
        </p:nvSpPr>
        <p:spPr>
          <a:xfrm flipV="1">
            <a:off x="696734" y="1596353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7" name="CuadroTexto 86">
            <a:extLst>
              <a:ext uri="{FF2B5EF4-FFF2-40B4-BE49-F238E27FC236}">
                <a16:creationId xmlns:a16="http://schemas.microsoft.com/office/drawing/2014/main" xmlns="" id="{5B9AA71B-D870-DA4C-A08D-98465C49F66E}"/>
              </a:ext>
            </a:extLst>
          </p:cNvPr>
          <p:cNvSpPr txBox="1"/>
          <p:nvPr/>
        </p:nvSpPr>
        <p:spPr>
          <a:xfrm>
            <a:off x="829684" y="1698776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1</a:t>
            </a:r>
          </a:p>
        </p:txBody>
      </p:sp>
      <p:sp>
        <p:nvSpPr>
          <p:cNvPr id="88" name="CuadroTexto 87">
            <a:extLst>
              <a:ext uri="{FF2B5EF4-FFF2-40B4-BE49-F238E27FC236}">
                <a16:creationId xmlns:a16="http://schemas.microsoft.com/office/drawing/2014/main" xmlns="" id="{D1C89D2A-36E9-9B40-9266-A5B5A8BA8359}"/>
              </a:ext>
            </a:extLst>
          </p:cNvPr>
          <p:cNvSpPr txBox="1"/>
          <p:nvPr/>
        </p:nvSpPr>
        <p:spPr>
          <a:xfrm>
            <a:off x="1473366" y="1760935"/>
            <a:ext cx="3215473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Siempre utiliza tus EPP.</a:t>
            </a:r>
          </a:p>
        </p:txBody>
      </p:sp>
      <p:sp>
        <p:nvSpPr>
          <p:cNvPr id="89" name="Forma libre 88">
            <a:extLst>
              <a:ext uri="{FF2B5EF4-FFF2-40B4-BE49-F238E27FC236}">
                <a16:creationId xmlns:a16="http://schemas.microsoft.com/office/drawing/2014/main" xmlns="" id="{F308611A-A402-C749-A31A-4A7465B38936}"/>
              </a:ext>
            </a:extLst>
          </p:cNvPr>
          <p:cNvSpPr/>
          <p:nvPr/>
        </p:nvSpPr>
        <p:spPr>
          <a:xfrm flipV="1">
            <a:off x="1124022" y="2379319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90" name="Elipse 89">
            <a:extLst>
              <a:ext uri="{FF2B5EF4-FFF2-40B4-BE49-F238E27FC236}">
                <a16:creationId xmlns:a16="http://schemas.microsoft.com/office/drawing/2014/main" xmlns="" id="{7C39056B-BD11-D940-A90C-099D9C8C3F86}"/>
              </a:ext>
            </a:extLst>
          </p:cNvPr>
          <p:cNvSpPr/>
          <p:nvPr/>
        </p:nvSpPr>
        <p:spPr>
          <a:xfrm flipV="1">
            <a:off x="696734" y="2383405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1" name="CuadroTexto 90">
            <a:extLst>
              <a:ext uri="{FF2B5EF4-FFF2-40B4-BE49-F238E27FC236}">
                <a16:creationId xmlns:a16="http://schemas.microsoft.com/office/drawing/2014/main" xmlns="" id="{48E03A0C-B6F5-5C40-A362-CDAD571E90C4}"/>
              </a:ext>
            </a:extLst>
          </p:cNvPr>
          <p:cNvSpPr txBox="1"/>
          <p:nvPr/>
        </p:nvSpPr>
        <p:spPr>
          <a:xfrm>
            <a:off x="839732" y="2475780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2</a:t>
            </a:r>
          </a:p>
        </p:txBody>
      </p:sp>
      <p:sp>
        <p:nvSpPr>
          <p:cNvPr id="92" name="CuadroTexto 91">
            <a:extLst>
              <a:ext uri="{FF2B5EF4-FFF2-40B4-BE49-F238E27FC236}">
                <a16:creationId xmlns:a16="http://schemas.microsoft.com/office/drawing/2014/main" xmlns="" id="{26FF3E0F-2354-4743-B7AC-260B9FFA8341}"/>
              </a:ext>
            </a:extLst>
          </p:cNvPr>
          <p:cNvSpPr txBox="1"/>
          <p:nvPr/>
        </p:nvSpPr>
        <p:spPr>
          <a:xfrm>
            <a:off x="1473366" y="2496313"/>
            <a:ext cx="606478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No uses elementos susceptibles de ser atrapados. </a:t>
            </a:r>
          </a:p>
        </p:txBody>
      </p:sp>
      <p:sp>
        <p:nvSpPr>
          <p:cNvPr id="93" name="Forma libre 92">
            <a:extLst>
              <a:ext uri="{FF2B5EF4-FFF2-40B4-BE49-F238E27FC236}">
                <a16:creationId xmlns:a16="http://schemas.microsoft.com/office/drawing/2014/main" xmlns="" id="{B122EC16-C1DA-FF45-9D4E-947A33A53084}"/>
              </a:ext>
            </a:extLst>
          </p:cNvPr>
          <p:cNvSpPr/>
          <p:nvPr/>
        </p:nvSpPr>
        <p:spPr>
          <a:xfrm flipV="1">
            <a:off x="1124022" y="3141792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94" name="Elipse 93">
            <a:extLst>
              <a:ext uri="{FF2B5EF4-FFF2-40B4-BE49-F238E27FC236}">
                <a16:creationId xmlns:a16="http://schemas.microsoft.com/office/drawing/2014/main" xmlns="" id="{CDB32C51-030A-6D42-A747-70853CD9EBDA}"/>
              </a:ext>
            </a:extLst>
          </p:cNvPr>
          <p:cNvSpPr/>
          <p:nvPr/>
        </p:nvSpPr>
        <p:spPr>
          <a:xfrm flipV="1">
            <a:off x="696734" y="3117359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5" name="CuadroTexto 94">
            <a:extLst>
              <a:ext uri="{FF2B5EF4-FFF2-40B4-BE49-F238E27FC236}">
                <a16:creationId xmlns:a16="http://schemas.microsoft.com/office/drawing/2014/main" xmlns="" id="{5F3DC6BE-0786-5944-BC9F-9FD7F2DC36CB}"/>
              </a:ext>
            </a:extLst>
          </p:cNvPr>
          <p:cNvSpPr txBox="1"/>
          <p:nvPr/>
        </p:nvSpPr>
        <p:spPr>
          <a:xfrm>
            <a:off x="839732" y="3209735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3</a:t>
            </a:r>
          </a:p>
        </p:txBody>
      </p:sp>
      <p:sp>
        <p:nvSpPr>
          <p:cNvPr id="96" name="CuadroTexto 95">
            <a:extLst>
              <a:ext uri="{FF2B5EF4-FFF2-40B4-BE49-F238E27FC236}">
                <a16:creationId xmlns:a16="http://schemas.microsoft.com/office/drawing/2014/main" xmlns="" id="{21C2A8F2-2CDC-BD40-90C9-2937F5B6376C}"/>
              </a:ext>
            </a:extLst>
          </p:cNvPr>
          <p:cNvSpPr txBox="1"/>
          <p:nvPr/>
        </p:nvSpPr>
        <p:spPr>
          <a:xfrm>
            <a:off x="1473366" y="3260201"/>
            <a:ext cx="709976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No operes equipos que presenten daños o fallas. </a:t>
            </a:r>
          </a:p>
        </p:txBody>
      </p:sp>
      <p:sp>
        <p:nvSpPr>
          <p:cNvPr id="97" name="Forma libre 96">
            <a:extLst>
              <a:ext uri="{FF2B5EF4-FFF2-40B4-BE49-F238E27FC236}">
                <a16:creationId xmlns:a16="http://schemas.microsoft.com/office/drawing/2014/main" xmlns="" id="{9EE5E0E2-76A6-9F4E-B8D6-557EBADB073E}"/>
              </a:ext>
            </a:extLst>
          </p:cNvPr>
          <p:cNvSpPr/>
          <p:nvPr/>
        </p:nvSpPr>
        <p:spPr>
          <a:xfrm flipV="1">
            <a:off x="1124022" y="3903164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98" name="Elipse 97">
            <a:extLst>
              <a:ext uri="{FF2B5EF4-FFF2-40B4-BE49-F238E27FC236}">
                <a16:creationId xmlns:a16="http://schemas.microsoft.com/office/drawing/2014/main" xmlns="" id="{038DE227-8528-D64E-B66B-DE6FFFF6ED4B}"/>
              </a:ext>
            </a:extLst>
          </p:cNvPr>
          <p:cNvSpPr/>
          <p:nvPr/>
        </p:nvSpPr>
        <p:spPr>
          <a:xfrm flipV="1">
            <a:off x="696734" y="3904411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9" name="CuadroTexto 98">
            <a:extLst>
              <a:ext uri="{FF2B5EF4-FFF2-40B4-BE49-F238E27FC236}">
                <a16:creationId xmlns:a16="http://schemas.microsoft.com/office/drawing/2014/main" xmlns="" id="{F9D315F1-478D-EA48-9159-82E0C92554D2}"/>
              </a:ext>
            </a:extLst>
          </p:cNvPr>
          <p:cNvSpPr txBox="1"/>
          <p:nvPr/>
        </p:nvSpPr>
        <p:spPr>
          <a:xfrm>
            <a:off x="839732" y="3996786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00" name="CuadroTexto 99">
            <a:extLst>
              <a:ext uri="{FF2B5EF4-FFF2-40B4-BE49-F238E27FC236}">
                <a16:creationId xmlns:a16="http://schemas.microsoft.com/office/drawing/2014/main" xmlns="" id="{7908BDBD-8078-5945-90B2-90810E8E4C8A}"/>
              </a:ext>
            </a:extLst>
          </p:cNvPr>
          <p:cNvSpPr txBox="1"/>
          <p:nvPr/>
        </p:nvSpPr>
        <p:spPr>
          <a:xfrm>
            <a:off x="1473365" y="4021573"/>
            <a:ext cx="606478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Mantén la vista en la tarea que estás realizando.</a:t>
            </a:r>
          </a:p>
        </p:txBody>
      </p:sp>
      <p:sp>
        <p:nvSpPr>
          <p:cNvPr id="101" name="Forma libre 100">
            <a:extLst>
              <a:ext uri="{FF2B5EF4-FFF2-40B4-BE49-F238E27FC236}">
                <a16:creationId xmlns:a16="http://schemas.microsoft.com/office/drawing/2014/main" xmlns="" id="{2BCA9369-33E7-F24A-90BC-75CE9CC3F2B0}"/>
              </a:ext>
            </a:extLst>
          </p:cNvPr>
          <p:cNvSpPr/>
          <p:nvPr/>
        </p:nvSpPr>
        <p:spPr>
          <a:xfrm flipV="1">
            <a:off x="1124022" y="4664536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102" name="Elipse 101">
            <a:extLst>
              <a:ext uri="{FF2B5EF4-FFF2-40B4-BE49-F238E27FC236}">
                <a16:creationId xmlns:a16="http://schemas.microsoft.com/office/drawing/2014/main" xmlns="" id="{83EDC7B0-D682-0945-AE3E-FDEBD8864302}"/>
              </a:ext>
            </a:extLst>
          </p:cNvPr>
          <p:cNvSpPr/>
          <p:nvPr/>
        </p:nvSpPr>
        <p:spPr>
          <a:xfrm flipV="1">
            <a:off x="696734" y="4640103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3" name="CuadroTexto 102">
            <a:extLst>
              <a:ext uri="{FF2B5EF4-FFF2-40B4-BE49-F238E27FC236}">
                <a16:creationId xmlns:a16="http://schemas.microsoft.com/office/drawing/2014/main" xmlns="" id="{6332DD95-F056-DC4F-A63D-7BA72E1E9197}"/>
              </a:ext>
            </a:extLst>
          </p:cNvPr>
          <p:cNvSpPr txBox="1"/>
          <p:nvPr/>
        </p:nvSpPr>
        <p:spPr>
          <a:xfrm>
            <a:off x="839732" y="4732479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04" name="CuadroTexto 103">
            <a:extLst>
              <a:ext uri="{FF2B5EF4-FFF2-40B4-BE49-F238E27FC236}">
                <a16:creationId xmlns:a16="http://schemas.microsoft.com/office/drawing/2014/main" xmlns="" id="{B8C42AB2-8ACC-D743-9FDB-DFF7ED8EA7AD}"/>
              </a:ext>
            </a:extLst>
          </p:cNvPr>
          <p:cNvSpPr txBox="1"/>
          <p:nvPr/>
        </p:nvSpPr>
        <p:spPr>
          <a:xfrm>
            <a:off x="1473366" y="4782945"/>
            <a:ext cx="8164891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Nunca operes el equipo con las manos sucias con aceite o mojadas.</a:t>
            </a:r>
          </a:p>
        </p:txBody>
      </p:sp>
      <p:sp>
        <p:nvSpPr>
          <p:cNvPr id="105" name="Forma libre 104">
            <a:extLst>
              <a:ext uri="{FF2B5EF4-FFF2-40B4-BE49-F238E27FC236}">
                <a16:creationId xmlns:a16="http://schemas.microsoft.com/office/drawing/2014/main" xmlns="" id="{567013C3-8F90-D045-907F-5C646ABAA5DC}"/>
              </a:ext>
            </a:extLst>
          </p:cNvPr>
          <p:cNvSpPr/>
          <p:nvPr/>
        </p:nvSpPr>
        <p:spPr>
          <a:xfrm flipV="1">
            <a:off x="1124022" y="5425908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algn="ctr" defTabSz="88873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CL" sz="1400" b="1" dirty="0">
              <a:solidFill>
                <a:prstClr val="white"/>
              </a:solidFill>
              <a:latin typeface="Tw Cen MT" pitchFamily="34" charset="0"/>
            </a:endParaRPr>
          </a:p>
        </p:txBody>
      </p:sp>
      <p:sp>
        <p:nvSpPr>
          <p:cNvPr id="106" name="Elipse 105">
            <a:extLst>
              <a:ext uri="{FF2B5EF4-FFF2-40B4-BE49-F238E27FC236}">
                <a16:creationId xmlns:a16="http://schemas.microsoft.com/office/drawing/2014/main" xmlns="" id="{B549857F-09E8-C94D-A53B-E73626FA900C}"/>
              </a:ext>
            </a:extLst>
          </p:cNvPr>
          <p:cNvSpPr/>
          <p:nvPr/>
        </p:nvSpPr>
        <p:spPr>
          <a:xfrm flipV="1">
            <a:off x="696734" y="5427155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/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7" name="CuadroTexto 106">
            <a:extLst>
              <a:ext uri="{FF2B5EF4-FFF2-40B4-BE49-F238E27FC236}">
                <a16:creationId xmlns:a16="http://schemas.microsoft.com/office/drawing/2014/main" xmlns="" id="{946B238A-5F8F-2542-86C0-3B22FDAA7387}"/>
              </a:ext>
            </a:extLst>
          </p:cNvPr>
          <p:cNvSpPr txBox="1"/>
          <p:nvPr/>
        </p:nvSpPr>
        <p:spPr>
          <a:xfrm>
            <a:off x="839732" y="5519530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>
              <a:defRPr/>
            </a:pPr>
            <a:r>
              <a:rPr lang="es-CL" sz="2200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08" name="CuadroTexto 107">
            <a:extLst>
              <a:ext uri="{FF2B5EF4-FFF2-40B4-BE49-F238E27FC236}">
                <a16:creationId xmlns:a16="http://schemas.microsoft.com/office/drawing/2014/main" xmlns="" id="{CA8FEE83-8FA8-454C-AB7B-F519C4B95321}"/>
              </a:ext>
            </a:extLst>
          </p:cNvPr>
          <p:cNvSpPr txBox="1"/>
          <p:nvPr/>
        </p:nvSpPr>
        <p:spPr>
          <a:xfrm>
            <a:off x="1473365" y="5544317"/>
            <a:ext cx="869757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Antes de tocar diversas partes del equipo, observa que no existan superficies filosas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37098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animBg="1"/>
      <p:bldP spid="86" grpId="0" animBg="1"/>
      <p:bldP spid="87" grpId="0"/>
      <p:bldP spid="88" grpId="0"/>
      <p:bldP spid="89" grpId="0" animBg="1"/>
      <p:bldP spid="90" grpId="0" animBg="1"/>
      <p:bldP spid="91" grpId="0"/>
      <p:bldP spid="92" grpId="0"/>
      <p:bldP spid="93" grpId="0" animBg="1"/>
      <p:bldP spid="94" grpId="0" animBg="1"/>
      <p:bldP spid="95" grpId="0"/>
      <p:bldP spid="96" grpId="0"/>
      <p:bldP spid="97" grpId="0" animBg="1"/>
      <p:bldP spid="98" grpId="0" animBg="1"/>
      <p:bldP spid="99" grpId="0"/>
      <p:bldP spid="100" grpId="0"/>
      <p:bldP spid="101" grpId="0" animBg="1"/>
      <p:bldP spid="102" grpId="0" animBg="1"/>
      <p:bldP spid="103" grpId="0"/>
      <p:bldP spid="104" grpId="0"/>
      <p:bldP spid="105" grpId="0" animBg="1"/>
      <p:bldP spid="106" grpId="0" animBg="1"/>
      <p:bldP spid="107" grpId="0"/>
      <p:bldP spid="10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Y sigue estas recomendaciones</a:t>
            </a:r>
          </a:p>
        </p:txBody>
      </p:sp>
      <p:sp>
        <p:nvSpPr>
          <p:cNvPr id="28" name="Forma libre 27">
            <a:extLst>
              <a:ext uri="{FF2B5EF4-FFF2-40B4-BE49-F238E27FC236}">
                <a16:creationId xmlns:a16="http://schemas.microsoft.com/office/drawing/2014/main" xmlns="" id="{4824411B-8F80-A449-B8A5-85F0048A6202}"/>
              </a:ext>
            </a:extLst>
          </p:cNvPr>
          <p:cNvSpPr/>
          <p:nvPr/>
        </p:nvSpPr>
        <p:spPr>
          <a:xfrm flipV="1">
            <a:off x="1124022" y="1616846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xmlns="" id="{102550BF-707C-5D4C-B964-421F55A14789}"/>
              </a:ext>
            </a:extLst>
          </p:cNvPr>
          <p:cNvSpPr/>
          <p:nvPr/>
        </p:nvSpPr>
        <p:spPr>
          <a:xfrm flipV="1">
            <a:off x="696734" y="1596353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xmlns="" id="{4CFF53DF-8DA2-814D-8FC7-2519F68C6723}"/>
              </a:ext>
            </a:extLst>
          </p:cNvPr>
          <p:cNvSpPr txBox="1"/>
          <p:nvPr/>
        </p:nvSpPr>
        <p:spPr>
          <a:xfrm>
            <a:off x="849780" y="1698776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7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xmlns="" id="{3C75CE78-E51E-7B4B-A4AD-A5CA190B6D83}"/>
              </a:ext>
            </a:extLst>
          </p:cNvPr>
          <p:cNvSpPr txBox="1"/>
          <p:nvPr/>
        </p:nvSpPr>
        <p:spPr>
          <a:xfrm>
            <a:off x="1473366" y="1760935"/>
            <a:ext cx="54399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No saltes al subir o bajar del equipo</a:t>
            </a:r>
            <a:endParaRPr kumimoji="0" lang="es-CL" sz="17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32" name="Forma libre 31">
            <a:extLst>
              <a:ext uri="{FF2B5EF4-FFF2-40B4-BE49-F238E27FC236}">
                <a16:creationId xmlns:a16="http://schemas.microsoft.com/office/drawing/2014/main" xmlns="" id="{CDF84F1F-405C-5A47-8320-7F765786FBB0}"/>
              </a:ext>
            </a:extLst>
          </p:cNvPr>
          <p:cNvSpPr/>
          <p:nvPr/>
        </p:nvSpPr>
        <p:spPr>
          <a:xfrm flipV="1">
            <a:off x="1124022" y="2379319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xmlns="" id="{788A3051-CD5B-1E43-842A-7898E941054C}"/>
              </a:ext>
            </a:extLst>
          </p:cNvPr>
          <p:cNvSpPr/>
          <p:nvPr/>
        </p:nvSpPr>
        <p:spPr>
          <a:xfrm flipV="1">
            <a:off x="696734" y="2383405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xmlns="" id="{83925CD1-16BA-7640-8580-1158C0E91292}"/>
              </a:ext>
            </a:extLst>
          </p:cNvPr>
          <p:cNvSpPr txBox="1"/>
          <p:nvPr/>
        </p:nvSpPr>
        <p:spPr>
          <a:xfrm>
            <a:off x="839732" y="2475780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8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xmlns="" id="{712BB8A8-D61A-0A41-938A-FC7E071EE202}"/>
              </a:ext>
            </a:extLst>
          </p:cNvPr>
          <p:cNvSpPr txBox="1"/>
          <p:nvPr/>
        </p:nvSpPr>
        <p:spPr>
          <a:xfrm>
            <a:off x="1473366" y="2496313"/>
            <a:ext cx="606478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Mantente alejado del tránsito de otros equipos</a:t>
            </a:r>
          </a:p>
        </p:txBody>
      </p:sp>
      <p:sp>
        <p:nvSpPr>
          <p:cNvPr id="36" name="Forma libre 35">
            <a:extLst>
              <a:ext uri="{FF2B5EF4-FFF2-40B4-BE49-F238E27FC236}">
                <a16:creationId xmlns:a16="http://schemas.microsoft.com/office/drawing/2014/main" xmlns="" id="{E1F99CBE-21A3-F64C-9457-C9C7BDBC3216}"/>
              </a:ext>
            </a:extLst>
          </p:cNvPr>
          <p:cNvSpPr/>
          <p:nvPr/>
        </p:nvSpPr>
        <p:spPr>
          <a:xfrm flipV="1">
            <a:off x="1124022" y="3141792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xmlns="" id="{9A5B34C5-48DA-6649-A4BE-C0AD612A2A53}"/>
              </a:ext>
            </a:extLst>
          </p:cNvPr>
          <p:cNvSpPr/>
          <p:nvPr/>
        </p:nvSpPr>
        <p:spPr>
          <a:xfrm flipV="1">
            <a:off x="696734" y="3117359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xmlns="" id="{871D6570-6D35-BC41-AE21-C268789A27BE}"/>
              </a:ext>
            </a:extLst>
          </p:cNvPr>
          <p:cNvSpPr txBox="1"/>
          <p:nvPr/>
        </p:nvSpPr>
        <p:spPr>
          <a:xfrm>
            <a:off x="839732" y="3209735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9</a:t>
            </a: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xmlns="" id="{5F387AF2-6BC9-A942-A4D6-F4DCC1F3C9E1}"/>
              </a:ext>
            </a:extLst>
          </p:cNvPr>
          <p:cNvSpPr txBox="1"/>
          <p:nvPr/>
        </p:nvSpPr>
        <p:spPr>
          <a:xfrm>
            <a:off x="1473366" y="3260201"/>
            <a:ext cx="709976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Cuando presencies daños o fallas, informa a tu jefatura</a:t>
            </a:r>
          </a:p>
        </p:txBody>
      </p:sp>
      <p:sp>
        <p:nvSpPr>
          <p:cNvPr id="40" name="Forma libre 39">
            <a:extLst>
              <a:ext uri="{FF2B5EF4-FFF2-40B4-BE49-F238E27FC236}">
                <a16:creationId xmlns:a16="http://schemas.microsoft.com/office/drawing/2014/main" xmlns="" id="{2B5C256E-51C4-2546-BB2E-2324FD140AAA}"/>
              </a:ext>
            </a:extLst>
          </p:cNvPr>
          <p:cNvSpPr/>
          <p:nvPr/>
        </p:nvSpPr>
        <p:spPr>
          <a:xfrm flipV="1">
            <a:off x="1124022" y="3903164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xmlns="" id="{C8784755-EDC7-7F49-B1D4-B880628423EB}"/>
              </a:ext>
            </a:extLst>
          </p:cNvPr>
          <p:cNvSpPr/>
          <p:nvPr/>
        </p:nvSpPr>
        <p:spPr>
          <a:xfrm flipV="1">
            <a:off x="696734" y="3904411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xmlns="" id="{9AD28AD5-EEA3-FC40-B182-4C280DD2BB2D}"/>
              </a:ext>
            </a:extLst>
          </p:cNvPr>
          <p:cNvSpPr txBox="1"/>
          <p:nvPr/>
        </p:nvSpPr>
        <p:spPr>
          <a:xfrm>
            <a:off x="759346" y="4016882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xmlns="" id="{F831AA50-1268-9D4C-9ECD-97D476EE9EDC}"/>
              </a:ext>
            </a:extLst>
          </p:cNvPr>
          <p:cNvSpPr txBox="1"/>
          <p:nvPr/>
        </p:nvSpPr>
        <p:spPr>
          <a:xfrm>
            <a:off x="1473365" y="4021573"/>
            <a:ext cx="856493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Realiza movimientos cortos y suaves cuando hagas pruebas del equipo</a:t>
            </a:r>
          </a:p>
        </p:txBody>
      </p:sp>
      <p:sp>
        <p:nvSpPr>
          <p:cNvPr id="44" name="Forma libre 43">
            <a:extLst>
              <a:ext uri="{FF2B5EF4-FFF2-40B4-BE49-F238E27FC236}">
                <a16:creationId xmlns:a16="http://schemas.microsoft.com/office/drawing/2014/main" xmlns="" id="{C432294E-2F5C-794F-BE64-7E89A3CE2841}"/>
              </a:ext>
            </a:extLst>
          </p:cNvPr>
          <p:cNvSpPr/>
          <p:nvPr/>
        </p:nvSpPr>
        <p:spPr>
          <a:xfrm flipV="1">
            <a:off x="1124022" y="4664536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45" name="Elipse 44">
            <a:extLst>
              <a:ext uri="{FF2B5EF4-FFF2-40B4-BE49-F238E27FC236}">
                <a16:creationId xmlns:a16="http://schemas.microsoft.com/office/drawing/2014/main" xmlns="" id="{83ACA8DF-25B2-7546-BAB7-1505550C536E}"/>
              </a:ext>
            </a:extLst>
          </p:cNvPr>
          <p:cNvSpPr/>
          <p:nvPr/>
        </p:nvSpPr>
        <p:spPr>
          <a:xfrm flipV="1">
            <a:off x="696734" y="4640103"/>
            <a:ext cx="633632" cy="6336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xmlns="" id="{25A53C57-8FA7-1B4C-8745-D0767E5133D3}"/>
              </a:ext>
            </a:extLst>
          </p:cNvPr>
          <p:cNvSpPr txBox="1"/>
          <p:nvPr/>
        </p:nvSpPr>
        <p:spPr>
          <a:xfrm>
            <a:off x="759346" y="4732479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xmlns="" id="{D564463B-FB8D-0A4A-B931-A95059E6D239}"/>
              </a:ext>
            </a:extLst>
          </p:cNvPr>
          <p:cNvSpPr txBox="1"/>
          <p:nvPr/>
        </p:nvSpPr>
        <p:spPr>
          <a:xfrm>
            <a:off x="1473366" y="4782945"/>
            <a:ext cx="891663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700" dirty="0">
                <a:latin typeface="ACHS Nueva Sans Medium" pitchFamily="2" charset="77"/>
                <a:cs typeface="Arial" panose="020B0604020202020204" pitchFamily="34" charset="0"/>
              </a:rPr>
              <a:t>Limpia cualquier residuo de sustancias que queden derramadas en la máquina</a:t>
            </a:r>
          </a:p>
        </p:txBody>
      </p:sp>
      <p:sp>
        <p:nvSpPr>
          <p:cNvPr id="48" name="Forma libre 47">
            <a:extLst>
              <a:ext uri="{FF2B5EF4-FFF2-40B4-BE49-F238E27FC236}">
                <a16:creationId xmlns:a16="http://schemas.microsoft.com/office/drawing/2014/main" xmlns="" id="{756CD88F-3210-6E42-A6A8-5CD827AA81DD}"/>
              </a:ext>
            </a:extLst>
          </p:cNvPr>
          <p:cNvSpPr/>
          <p:nvPr/>
        </p:nvSpPr>
        <p:spPr>
          <a:xfrm flipV="1">
            <a:off x="1124022" y="5425908"/>
            <a:ext cx="9265974" cy="606149"/>
          </a:xfrm>
          <a:custGeom>
            <a:avLst/>
            <a:gdLst>
              <a:gd name="connsiteX0" fmla="*/ 0 w 5054956"/>
              <a:gd name="connsiteY0" fmla="*/ 0 h 873244"/>
              <a:gd name="connsiteX1" fmla="*/ 5054956 w 5054956"/>
              <a:gd name="connsiteY1" fmla="*/ 0 h 873244"/>
              <a:gd name="connsiteX2" fmla="*/ 5054956 w 5054956"/>
              <a:gd name="connsiteY2" fmla="*/ 873244 h 873244"/>
              <a:gd name="connsiteX3" fmla="*/ 0 w 5054956"/>
              <a:gd name="connsiteY3" fmla="*/ 873244 h 873244"/>
              <a:gd name="connsiteX4" fmla="*/ 0 w 5054956"/>
              <a:gd name="connsiteY4" fmla="*/ 0 h 87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4956" h="873244">
                <a:moveTo>
                  <a:pt x="0" y="0"/>
                </a:moveTo>
                <a:lnTo>
                  <a:pt x="5054956" y="0"/>
                </a:lnTo>
                <a:lnTo>
                  <a:pt x="5054956" y="873244"/>
                </a:lnTo>
                <a:lnTo>
                  <a:pt x="0" y="8732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92778" tIns="50774" rIns="50774" bIns="50774" numCol="1" spcCol="1270" anchor="ctr" anchorCtr="0">
            <a:noAutofit/>
          </a:bodyPr>
          <a:lstStyle/>
          <a:p>
            <a:pPr marL="0" marR="0" lvl="0" indent="0" algn="ctr" defTabSz="888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itchFamily="34" charset="0"/>
              <a:ea typeface="+mn-ea"/>
              <a:cs typeface="+mn-cs"/>
            </a:endParaRPr>
          </a:p>
        </p:txBody>
      </p:sp>
      <p:sp>
        <p:nvSpPr>
          <p:cNvPr id="49" name="Elipse 48">
            <a:extLst>
              <a:ext uri="{FF2B5EF4-FFF2-40B4-BE49-F238E27FC236}">
                <a16:creationId xmlns:a16="http://schemas.microsoft.com/office/drawing/2014/main" xmlns="" id="{AD3BCE3C-3CB6-2241-B4F7-35DECAEF9844}"/>
              </a:ext>
            </a:extLst>
          </p:cNvPr>
          <p:cNvSpPr/>
          <p:nvPr/>
        </p:nvSpPr>
        <p:spPr>
          <a:xfrm flipV="1">
            <a:off x="696734" y="5427155"/>
            <a:ext cx="633632" cy="63363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xmlns="" id="{DDC7A37A-CA81-2143-A4E6-1DD831D71420}"/>
              </a:ext>
            </a:extLst>
          </p:cNvPr>
          <p:cNvSpPr txBox="1"/>
          <p:nvPr/>
        </p:nvSpPr>
        <p:spPr>
          <a:xfrm>
            <a:off x="759346" y="5519530"/>
            <a:ext cx="748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xmlns="" id="{91DF3AA9-984F-D943-A512-BC09FF106AC4}"/>
              </a:ext>
            </a:extLst>
          </p:cNvPr>
          <p:cNvSpPr txBox="1"/>
          <p:nvPr/>
        </p:nvSpPr>
        <p:spPr>
          <a:xfrm>
            <a:off x="1473364" y="5544317"/>
            <a:ext cx="10043933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Usa los 3 puntos de apoyo al subir y</a:t>
            </a:r>
            <a:r>
              <a:rPr lang="x-none" sz="1700">
                <a:latin typeface="ACHS Nueva Sans Medium" pitchFamily="2" charset="77"/>
                <a:cs typeface="Arial" panose="020B0604020202020204" pitchFamily="34" charset="0"/>
              </a:rPr>
              <a:t> </a:t>
            </a:r>
            <a:r>
              <a:rPr lang="es-CL" sz="1700" dirty="0">
                <a:latin typeface="ACHS Nueva Sans Medium" pitchFamily="2" charset="77"/>
                <a:cs typeface="Arial" panose="020B0604020202020204" pitchFamily="34" charset="0"/>
              </a:rPr>
              <a:t>bajar del equipo (mano-mano-pie o mano-pie-pie)</a:t>
            </a:r>
            <a:endParaRPr kumimoji="0" lang="es-CL" sz="17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06364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  <p:bldP spid="30" grpId="0"/>
      <p:bldP spid="31" grpId="0"/>
      <p:bldP spid="32" grpId="0" animBg="1"/>
      <p:bldP spid="33" grpId="0" animBg="1"/>
      <p:bldP spid="34" grpId="0"/>
      <p:bldP spid="35" grpId="0"/>
      <p:bldP spid="36" grpId="0" animBg="1"/>
      <p:bldP spid="37" grpId="0" animBg="1"/>
      <p:bldP spid="38" grpId="0"/>
      <p:bldP spid="39" grpId="0"/>
      <p:bldP spid="40" grpId="0" animBg="1"/>
      <p:bldP spid="41" grpId="0" animBg="1"/>
      <p:bldP spid="42" grpId="0"/>
      <p:bldP spid="43" grpId="0"/>
      <p:bldP spid="44" grpId="0" animBg="1"/>
      <p:bldP spid="45" grpId="0" animBg="1"/>
      <p:bldP spid="46" grpId="0"/>
      <p:bldP spid="47" grpId="0"/>
      <p:bldP spid="48" grpId="0" animBg="1"/>
      <p:bldP spid="49" grpId="0" animBg="1"/>
      <p:bldP spid="50" grpId="0"/>
      <p:bldP spid="5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Te enseñamos qué revisar de tu equipo</a:t>
            </a:r>
          </a:p>
        </p:txBody>
      </p:sp>
      <p:sp>
        <p:nvSpPr>
          <p:cNvPr id="52" name="Rectángulo 51">
            <a:extLst>
              <a:ext uri="{FF2B5EF4-FFF2-40B4-BE49-F238E27FC236}">
                <a16:creationId xmlns:a16="http://schemas.microsoft.com/office/drawing/2014/main" xmlns="" id="{6701B10B-F8A0-DA48-A8E7-2C8CEFB2376F}"/>
              </a:ext>
            </a:extLst>
          </p:cNvPr>
          <p:cNvSpPr/>
          <p:nvPr/>
        </p:nvSpPr>
        <p:spPr>
          <a:xfrm>
            <a:off x="676723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3" name="CuadroTexto 52">
            <a:extLst>
              <a:ext uri="{FF2B5EF4-FFF2-40B4-BE49-F238E27FC236}">
                <a16:creationId xmlns:a16="http://schemas.microsoft.com/office/drawing/2014/main" xmlns="" id="{F9D16C90-49D4-7248-904E-461615769971}"/>
              </a:ext>
            </a:extLst>
          </p:cNvPr>
          <p:cNvSpPr txBox="1"/>
          <p:nvPr/>
        </p:nvSpPr>
        <p:spPr>
          <a:xfrm>
            <a:off x="1373833" y="1891490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2"/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Estado general</a:t>
            </a:r>
            <a:r>
              <a:rPr lang="es-ES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 </a:t>
            </a:r>
            <a:endParaRPr lang="es-CL" sz="1400" b="1" dirty="0">
              <a:solidFill>
                <a:schemeClr val="accent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xmlns="" id="{208DE701-DAED-F047-BC1B-0FA72A1260AD}"/>
              </a:ext>
            </a:extLst>
          </p:cNvPr>
          <p:cNvSpPr txBox="1"/>
          <p:nvPr/>
        </p:nvSpPr>
        <p:spPr>
          <a:xfrm>
            <a:off x="762919" y="2454269"/>
            <a:ext cx="317847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 de chasis, ausencia de abolladuras, marcas en pintura, otros daños, existencia de etiquetas, placas y advertencias de seguridad</a:t>
            </a:r>
            <a:r>
              <a:rPr lang="es-CL" sz="1300" dirty="0">
                <a:latin typeface="ACHS Nueva Sans Medium" pitchFamily="2" charset="77"/>
                <a:ea typeface="ＭＳ Ｐゴシック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xmlns="" id="{B11D25AB-A85A-8A4A-A9FD-0DD4ED1BD55B}"/>
              </a:ext>
            </a:extLst>
          </p:cNvPr>
          <p:cNvSpPr/>
          <p:nvPr/>
        </p:nvSpPr>
        <p:spPr>
          <a:xfrm>
            <a:off x="4348175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xmlns="" id="{77BDCB67-4C26-4C44-ABE3-4B50D4F862E7}"/>
              </a:ext>
            </a:extLst>
          </p:cNvPr>
          <p:cNvSpPr txBox="1"/>
          <p:nvPr/>
        </p:nvSpPr>
        <p:spPr>
          <a:xfrm>
            <a:off x="5036146" y="1903120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Horquillas</a:t>
            </a: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xmlns="" id="{9EEAE894-FFFB-284B-AA6B-9C4F1CD1EB6E}"/>
              </a:ext>
            </a:extLst>
          </p:cNvPr>
          <p:cNvSpPr txBox="1"/>
          <p:nvPr/>
        </p:nvSpPr>
        <p:spPr>
          <a:xfrm>
            <a:off x="4434371" y="2449881"/>
            <a:ext cx="250469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limpias, fijas.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xmlns="" id="{F264AF27-F2C8-2346-8410-43B8B1E04D17}"/>
              </a:ext>
            </a:extLst>
          </p:cNvPr>
          <p:cNvSpPr/>
          <p:nvPr/>
        </p:nvSpPr>
        <p:spPr>
          <a:xfrm>
            <a:off x="8019627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xmlns="" id="{AEA50616-3E76-154C-9664-B9D6C6F5B167}"/>
              </a:ext>
            </a:extLst>
          </p:cNvPr>
          <p:cNvSpPr txBox="1"/>
          <p:nvPr/>
        </p:nvSpPr>
        <p:spPr>
          <a:xfrm>
            <a:off x="8762873" y="1897419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Ruedas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xmlns="" id="{4640935F-70FC-ED46-8E6C-BFBE29432C1D}"/>
              </a:ext>
            </a:extLst>
          </p:cNvPr>
          <p:cNvSpPr txBox="1"/>
          <p:nvPr/>
        </p:nvSpPr>
        <p:spPr>
          <a:xfrm>
            <a:off x="8203401" y="2449881"/>
            <a:ext cx="307799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sin deformaciones, no provocan saltos al operar, sin ruidos extraños, sin elementos extraños.</a:t>
            </a: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xmlns="" id="{EDC8DCC3-BCF5-1346-ABF7-8A0CE9160AB7}"/>
              </a:ext>
            </a:extLst>
          </p:cNvPr>
          <p:cNvSpPr/>
          <p:nvPr/>
        </p:nvSpPr>
        <p:spPr>
          <a:xfrm>
            <a:off x="674366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xmlns="" id="{370A991A-01AF-D441-97E1-10FA8353C740}"/>
              </a:ext>
            </a:extLst>
          </p:cNvPr>
          <p:cNvSpPr txBox="1"/>
          <p:nvPr/>
        </p:nvSpPr>
        <p:spPr>
          <a:xfrm>
            <a:off x="1371476" y="4278030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Espejo</a:t>
            </a:r>
          </a:p>
        </p:txBody>
      </p:sp>
      <p:sp>
        <p:nvSpPr>
          <p:cNvPr id="63" name="CuadroTexto 62">
            <a:extLst>
              <a:ext uri="{FF2B5EF4-FFF2-40B4-BE49-F238E27FC236}">
                <a16:creationId xmlns:a16="http://schemas.microsoft.com/office/drawing/2014/main" xmlns="" id="{507A5FAA-117E-EB4E-B278-825902D4A4A0}"/>
              </a:ext>
            </a:extLst>
          </p:cNvPr>
          <p:cNvSpPr txBox="1"/>
          <p:nvPr/>
        </p:nvSpPr>
        <p:spPr>
          <a:xfrm>
            <a:off x="760562" y="4832927"/>
            <a:ext cx="318083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sin trizaduras, en posición, fijo, regulación.</a:t>
            </a:r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xmlns="" id="{3C62C47D-E4A9-5743-A3DF-0CD732831FE9}"/>
              </a:ext>
            </a:extLst>
          </p:cNvPr>
          <p:cNvSpPr/>
          <p:nvPr/>
        </p:nvSpPr>
        <p:spPr>
          <a:xfrm>
            <a:off x="4348175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s-CL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xmlns="" id="{B832E559-B1E3-A244-BC62-FE69F392857C}"/>
              </a:ext>
            </a:extLst>
          </p:cNvPr>
          <p:cNvSpPr txBox="1"/>
          <p:nvPr/>
        </p:nvSpPr>
        <p:spPr>
          <a:xfrm>
            <a:off x="5030771" y="4280464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Tapas y protecciones</a:t>
            </a:r>
          </a:p>
        </p:txBody>
      </p:sp>
      <p:sp>
        <p:nvSpPr>
          <p:cNvPr id="66" name="CuadroTexto 65">
            <a:extLst>
              <a:ext uri="{FF2B5EF4-FFF2-40B4-BE49-F238E27FC236}">
                <a16:creationId xmlns:a16="http://schemas.microsoft.com/office/drawing/2014/main" xmlns="" id="{3285E10F-606F-0F40-97EC-F7577CDC545D}"/>
              </a:ext>
            </a:extLst>
          </p:cNvPr>
          <p:cNvSpPr txBox="1"/>
          <p:nvPr/>
        </p:nvSpPr>
        <p:spPr>
          <a:xfrm>
            <a:off x="4434371" y="4832927"/>
            <a:ext cx="31808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Existentes, en posición correcta, fijas.</a:t>
            </a:r>
          </a:p>
        </p:txBody>
      </p:sp>
      <p:cxnSp>
        <p:nvCxnSpPr>
          <p:cNvPr id="67" name="Conector recto 66">
            <a:extLst>
              <a:ext uri="{FF2B5EF4-FFF2-40B4-BE49-F238E27FC236}">
                <a16:creationId xmlns:a16="http://schemas.microsoft.com/office/drawing/2014/main" xmlns="" id="{747B7E13-C6E3-F946-833B-F299A15B637B}"/>
              </a:ext>
            </a:extLst>
          </p:cNvPr>
          <p:cNvCxnSpPr/>
          <p:nvPr/>
        </p:nvCxnSpPr>
        <p:spPr>
          <a:xfrm>
            <a:off x="8287473" y="2370215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 recto 72">
            <a:extLst>
              <a:ext uri="{FF2B5EF4-FFF2-40B4-BE49-F238E27FC236}">
                <a16:creationId xmlns:a16="http://schemas.microsoft.com/office/drawing/2014/main" xmlns="" id="{4FBE5041-03E8-3B43-880F-E1C1779C00D5}"/>
              </a:ext>
            </a:extLst>
          </p:cNvPr>
          <p:cNvCxnSpPr/>
          <p:nvPr/>
        </p:nvCxnSpPr>
        <p:spPr>
          <a:xfrm>
            <a:off x="4528273" y="2370215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ector recto 73">
            <a:extLst>
              <a:ext uri="{FF2B5EF4-FFF2-40B4-BE49-F238E27FC236}">
                <a16:creationId xmlns:a16="http://schemas.microsoft.com/office/drawing/2014/main" xmlns="" id="{48101D09-B5FF-8245-952D-66ACFA940A8E}"/>
              </a:ext>
            </a:extLst>
          </p:cNvPr>
          <p:cNvCxnSpPr/>
          <p:nvPr/>
        </p:nvCxnSpPr>
        <p:spPr>
          <a:xfrm>
            <a:off x="856159" y="2370215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xmlns="" id="{FD0FF8C4-9CA3-FF4C-A30C-ECCA3E8B91BE}"/>
              </a:ext>
            </a:extLst>
          </p:cNvPr>
          <p:cNvCxnSpPr/>
          <p:nvPr/>
        </p:nvCxnSpPr>
        <p:spPr>
          <a:xfrm>
            <a:off x="4542787" y="4753261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 recto 75">
            <a:extLst>
              <a:ext uri="{FF2B5EF4-FFF2-40B4-BE49-F238E27FC236}">
                <a16:creationId xmlns:a16="http://schemas.microsoft.com/office/drawing/2014/main" xmlns="" id="{6B1A143E-F1B1-3544-9A24-C9B75D5FA5B5}"/>
              </a:ext>
            </a:extLst>
          </p:cNvPr>
          <p:cNvCxnSpPr/>
          <p:nvPr/>
        </p:nvCxnSpPr>
        <p:spPr>
          <a:xfrm>
            <a:off x="856158" y="4753261"/>
            <a:ext cx="285894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7" name="Imagen 76">
            <a:extLst>
              <a:ext uri="{FF2B5EF4-FFF2-40B4-BE49-F238E27FC236}">
                <a16:creationId xmlns:a16="http://schemas.microsoft.com/office/drawing/2014/main" xmlns="" id="{E65D2022-C196-5A40-8B3A-70E75B776F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07" y="1627690"/>
            <a:ext cx="822192" cy="822192"/>
          </a:xfrm>
          <a:prstGeom prst="rect">
            <a:avLst/>
          </a:prstGeom>
        </p:spPr>
      </p:pic>
      <p:pic>
        <p:nvPicPr>
          <p:cNvPr id="78" name="Imagen 77">
            <a:extLst>
              <a:ext uri="{FF2B5EF4-FFF2-40B4-BE49-F238E27FC236}">
                <a16:creationId xmlns:a16="http://schemas.microsoft.com/office/drawing/2014/main" xmlns="" id="{6397449C-2888-4847-95CB-680707BD9B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354" y="1659364"/>
            <a:ext cx="707374" cy="707374"/>
          </a:xfrm>
          <a:prstGeom prst="rect">
            <a:avLst/>
          </a:prstGeom>
        </p:spPr>
      </p:pic>
      <p:pic>
        <p:nvPicPr>
          <p:cNvPr id="79" name="Imagen 78">
            <a:extLst>
              <a:ext uri="{FF2B5EF4-FFF2-40B4-BE49-F238E27FC236}">
                <a16:creationId xmlns:a16="http://schemas.microsoft.com/office/drawing/2014/main" xmlns="" id="{ABDF74FD-72B3-7942-BCE2-E3A506DB66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5865" y="1580279"/>
            <a:ext cx="822192" cy="822192"/>
          </a:xfrm>
          <a:prstGeom prst="rect">
            <a:avLst/>
          </a:prstGeom>
        </p:spPr>
      </p:pic>
      <p:pic>
        <p:nvPicPr>
          <p:cNvPr id="80" name="Imagen 79">
            <a:extLst>
              <a:ext uri="{FF2B5EF4-FFF2-40B4-BE49-F238E27FC236}">
                <a16:creationId xmlns:a16="http://schemas.microsoft.com/office/drawing/2014/main" xmlns="" id="{C4465605-00C2-B54B-8311-32C7BD2638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562" y="4056281"/>
            <a:ext cx="666291" cy="666291"/>
          </a:xfrm>
          <a:prstGeom prst="rect">
            <a:avLst/>
          </a:prstGeom>
        </p:spPr>
      </p:pic>
      <p:pic>
        <p:nvPicPr>
          <p:cNvPr id="81" name="Imagen 80">
            <a:extLst>
              <a:ext uri="{FF2B5EF4-FFF2-40B4-BE49-F238E27FC236}">
                <a16:creationId xmlns:a16="http://schemas.microsoft.com/office/drawing/2014/main" xmlns="" id="{6C32D78A-196A-F14E-AC7C-1E986241798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9847" y="4043332"/>
            <a:ext cx="721634" cy="7216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19632699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Te enseñamos qué revisar de tu equipo</a:t>
            </a: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xmlns="" id="{E6EE4903-0588-7242-AA9D-00318EEEA086}"/>
              </a:ext>
            </a:extLst>
          </p:cNvPr>
          <p:cNvSpPr/>
          <p:nvPr/>
        </p:nvSpPr>
        <p:spPr>
          <a:xfrm>
            <a:off x="676723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xmlns="" id="{3A45A5C3-B519-0649-A734-D46AB7ABFB8F}"/>
              </a:ext>
            </a:extLst>
          </p:cNvPr>
          <p:cNvSpPr txBox="1"/>
          <p:nvPr/>
        </p:nvSpPr>
        <p:spPr>
          <a:xfrm>
            <a:off x="1373839" y="1919663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Baliza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xmlns="" id="{2CAF2BEC-BF8A-C44F-8859-CC92B004FD41}"/>
              </a:ext>
            </a:extLst>
          </p:cNvPr>
          <p:cNvSpPr txBox="1"/>
          <p:nvPr/>
        </p:nvSpPr>
        <p:spPr>
          <a:xfrm>
            <a:off x="762919" y="2457299"/>
            <a:ext cx="317847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sin trizaduras, fija, buen funcionamiento, sin ruido extraño.</a:t>
            </a: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xmlns="" id="{08E510D3-D803-864B-BBAE-FEEFEE9AAF71}"/>
              </a:ext>
            </a:extLst>
          </p:cNvPr>
          <p:cNvSpPr/>
          <p:nvPr/>
        </p:nvSpPr>
        <p:spPr>
          <a:xfrm>
            <a:off x="4348175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xmlns="" id="{A96AC806-5A4C-0042-A1B5-0AE36BB1365A}"/>
              </a:ext>
            </a:extLst>
          </p:cNvPr>
          <p:cNvSpPr txBox="1"/>
          <p:nvPr/>
        </p:nvSpPr>
        <p:spPr>
          <a:xfrm>
            <a:off x="5025935" y="1919663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Cinturón de seguridad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xmlns="" id="{C33F12F2-BA4E-9745-B56D-9071DBB8F706}"/>
              </a:ext>
            </a:extLst>
          </p:cNvPr>
          <p:cNvSpPr txBox="1"/>
          <p:nvPr/>
        </p:nvSpPr>
        <p:spPr>
          <a:xfrm>
            <a:off x="4434371" y="2457299"/>
            <a:ext cx="307174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, retráctil, enganche efectivo.</a:t>
            </a: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xmlns="" id="{98907A31-797B-ED4C-BE33-93E9F0713BA0}"/>
              </a:ext>
            </a:extLst>
          </p:cNvPr>
          <p:cNvSpPr/>
          <p:nvPr/>
        </p:nvSpPr>
        <p:spPr>
          <a:xfrm>
            <a:off x="8019627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xmlns="" id="{3FF8E9C1-35F2-C44D-A98B-6999A893671D}"/>
              </a:ext>
            </a:extLst>
          </p:cNvPr>
          <p:cNvSpPr txBox="1"/>
          <p:nvPr/>
        </p:nvSpPr>
        <p:spPr>
          <a:xfrm>
            <a:off x="8745765" y="1919663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Alarma de retroceso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xmlns="" id="{112FDD0D-4942-984C-9A4E-3D25FB9190DB}"/>
              </a:ext>
            </a:extLst>
          </p:cNvPr>
          <p:cNvSpPr txBox="1"/>
          <p:nvPr/>
        </p:nvSpPr>
        <p:spPr>
          <a:xfrm>
            <a:off x="8105823" y="2457299"/>
            <a:ext cx="307799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.</a:t>
            </a:r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xmlns="" id="{A584CC8E-60AC-4943-B1D6-DFD4267CE0A3}"/>
              </a:ext>
            </a:extLst>
          </p:cNvPr>
          <p:cNvSpPr/>
          <p:nvPr/>
        </p:nvSpPr>
        <p:spPr>
          <a:xfrm>
            <a:off x="674366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xmlns="" id="{FDC31504-20AF-2341-8C35-640BCE7BC06E}"/>
              </a:ext>
            </a:extLst>
          </p:cNvPr>
          <p:cNvSpPr txBox="1"/>
          <p:nvPr/>
        </p:nvSpPr>
        <p:spPr>
          <a:xfrm>
            <a:off x="1371481" y="4190192"/>
            <a:ext cx="25642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Sistema de elevación hidráulico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xmlns="" id="{BC84509B-A6EE-4443-9B14-B4CC04B62772}"/>
              </a:ext>
            </a:extLst>
          </p:cNvPr>
          <p:cNvSpPr txBox="1"/>
          <p:nvPr/>
        </p:nvSpPr>
        <p:spPr>
          <a:xfrm>
            <a:off x="760562" y="4843940"/>
            <a:ext cx="3180833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, buen estado, ausencia de filtraciones, sin ruidos extraños, sin elementos extraños.</a:t>
            </a: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xmlns="" id="{5AB954E2-CDB9-094D-98E2-08C1D8381956}"/>
              </a:ext>
            </a:extLst>
          </p:cNvPr>
          <p:cNvSpPr/>
          <p:nvPr/>
        </p:nvSpPr>
        <p:spPr>
          <a:xfrm>
            <a:off x="4348175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xmlns="" id="{29770715-2EB0-1C4A-81D9-4A6596D9DBB3}"/>
              </a:ext>
            </a:extLst>
          </p:cNvPr>
          <p:cNvSpPr txBox="1"/>
          <p:nvPr/>
        </p:nvSpPr>
        <p:spPr>
          <a:xfrm>
            <a:off x="5025935" y="4277276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Dirección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xmlns="" id="{4909D67C-6264-2643-84BB-09D3B683EB60}"/>
              </a:ext>
            </a:extLst>
          </p:cNvPr>
          <p:cNvSpPr txBox="1"/>
          <p:nvPr/>
        </p:nvSpPr>
        <p:spPr>
          <a:xfrm>
            <a:off x="4434371" y="4843940"/>
            <a:ext cx="3001409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 del timón o volante, se mueve correctamente, no hay ruidos extraños.</a:t>
            </a:r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xmlns="" id="{556EA4E1-4CE8-454A-AAB3-694740E25D06}"/>
              </a:ext>
            </a:extLst>
          </p:cNvPr>
          <p:cNvSpPr/>
          <p:nvPr/>
        </p:nvSpPr>
        <p:spPr>
          <a:xfrm>
            <a:off x="8017271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xmlns="" id="{58291075-2654-F349-A4EF-4D471075A245}"/>
              </a:ext>
            </a:extLst>
          </p:cNvPr>
          <p:cNvSpPr txBox="1"/>
          <p:nvPr/>
        </p:nvSpPr>
        <p:spPr>
          <a:xfrm>
            <a:off x="8743409" y="4190192"/>
            <a:ext cx="27217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Sistema de frenos, contramarcha</a:t>
            </a: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xmlns="" id="{4AD11497-5F1C-5940-A4BE-2F5654E46A6C}"/>
              </a:ext>
            </a:extLst>
          </p:cNvPr>
          <p:cNvSpPr txBox="1"/>
          <p:nvPr/>
        </p:nvSpPr>
        <p:spPr>
          <a:xfrm>
            <a:off x="8103467" y="4843940"/>
            <a:ext cx="31808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.</a:t>
            </a:r>
          </a:p>
        </p:txBody>
      </p:sp>
      <p:cxnSp>
        <p:nvCxnSpPr>
          <p:cNvPr id="47" name="Conector recto 46">
            <a:extLst>
              <a:ext uri="{FF2B5EF4-FFF2-40B4-BE49-F238E27FC236}">
                <a16:creationId xmlns:a16="http://schemas.microsoft.com/office/drawing/2014/main" xmlns="" id="{F61D11EA-0299-B04E-9558-E07078802578}"/>
              </a:ext>
            </a:extLst>
          </p:cNvPr>
          <p:cNvCxnSpPr/>
          <p:nvPr/>
        </p:nvCxnSpPr>
        <p:spPr>
          <a:xfrm>
            <a:off x="82874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xmlns="" id="{D038E233-E1EC-7340-866E-31563A9A7EC2}"/>
              </a:ext>
            </a:extLst>
          </p:cNvPr>
          <p:cNvCxnSpPr/>
          <p:nvPr/>
        </p:nvCxnSpPr>
        <p:spPr>
          <a:xfrm>
            <a:off x="45282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 recto 48">
            <a:extLst>
              <a:ext uri="{FF2B5EF4-FFF2-40B4-BE49-F238E27FC236}">
                <a16:creationId xmlns:a16="http://schemas.microsoft.com/office/drawing/2014/main" xmlns="" id="{B016E64E-5BD5-FC47-88D3-9D61866BE1AA}"/>
              </a:ext>
            </a:extLst>
          </p:cNvPr>
          <p:cNvCxnSpPr/>
          <p:nvPr/>
        </p:nvCxnSpPr>
        <p:spPr>
          <a:xfrm>
            <a:off x="856159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xmlns="" id="{960D288A-0440-E446-900E-F2246D210EE9}"/>
              </a:ext>
            </a:extLst>
          </p:cNvPr>
          <p:cNvCxnSpPr/>
          <p:nvPr/>
        </p:nvCxnSpPr>
        <p:spPr>
          <a:xfrm>
            <a:off x="4542787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cto 50">
            <a:extLst>
              <a:ext uri="{FF2B5EF4-FFF2-40B4-BE49-F238E27FC236}">
                <a16:creationId xmlns:a16="http://schemas.microsoft.com/office/drawing/2014/main" xmlns="" id="{041E8C46-0706-6346-9DC6-D2C9C103FCAF}"/>
              </a:ext>
            </a:extLst>
          </p:cNvPr>
          <p:cNvCxnSpPr/>
          <p:nvPr/>
        </p:nvCxnSpPr>
        <p:spPr>
          <a:xfrm>
            <a:off x="856158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ector recto 76">
            <a:extLst>
              <a:ext uri="{FF2B5EF4-FFF2-40B4-BE49-F238E27FC236}">
                <a16:creationId xmlns:a16="http://schemas.microsoft.com/office/drawing/2014/main" xmlns="" id="{A11D61BB-3544-6941-9720-493708EC192F}"/>
              </a:ext>
            </a:extLst>
          </p:cNvPr>
          <p:cNvCxnSpPr/>
          <p:nvPr/>
        </p:nvCxnSpPr>
        <p:spPr>
          <a:xfrm>
            <a:off x="8200387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4" name="Imagen 83">
            <a:extLst>
              <a:ext uri="{FF2B5EF4-FFF2-40B4-BE49-F238E27FC236}">
                <a16:creationId xmlns:a16="http://schemas.microsoft.com/office/drawing/2014/main" xmlns="" id="{C97E98B1-68F6-814A-B9E7-E3BF116C9D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954" y="1694063"/>
            <a:ext cx="718841" cy="718841"/>
          </a:xfrm>
          <a:prstGeom prst="rect">
            <a:avLst/>
          </a:prstGeom>
        </p:spPr>
      </p:pic>
      <p:pic>
        <p:nvPicPr>
          <p:cNvPr id="85" name="Imagen 84">
            <a:extLst>
              <a:ext uri="{FF2B5EF4-FFF2-40B4-BE49-F238E27FC236}">
                <a16:creationId xmlns:a16="http://schemas.microsoft.com/office/drawing/2014/main" xmlns="" id="{13D87DFD-D7E3-504B-967D-A5923273EC2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5153" y="1694065"/>
            <a:ext cx="651710" cy="651710"/>
          </a:xfrm>
          <a:prstGeom prst="rect">
            <a:avLst/>
          </a:prstGeom>
        </p:spPr>
      </p:pic>
      <p:pic>
        <p:nvPicPr>
          <p:cNvPr id="86" name="Imagen 85">
            <a:extLst>
              <a:ext uri="{FF2B5EF4-FFF2-40B4-BE49-F238E27FC236}">
                <a16:creationId xmlns:a16="http://schemas.microsoft.com/office/drawing/2014/main" xmlns="" id="{D4F1226E-37EE-9E42-B77D-6D90BAE0A1A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1412" y="1695042"/>
            <a:ext cx="716882" cy="716882"/>
          </a:xfrm>
          <a:prstGeom prst="rect">
            <a:avLst/>
          </a:prstGeom>
        </p:spPr>
      </p:pic>
      <p:pic>
        <p:nvPicPr>
          <p:cNvPr id="87" name="Imagen 86">
            <a:extLst>
              <a:ext uri="{FF2B5EF4-FFF2-40B4-BE49-F238E27FC236}">
                <a16:creationId xmlns:a16="http://schemas.microsoft.com/office/drawing/2014/main" xmlns="" id="{309CB309-6B8E-6641-B4C5-9E3F4FC121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269" y="4173618"/>
            <a:ext cx="577796" cy="577796"/>
          </a:xfrm>
          <a:prstGeom prst="rect">
            <a:avLst/>
          </a:prstGeom>
        </p:spPr>
      </p:pic>
      <p:pic>
        <p:nvPicPr>
          <p:cNvPr id="88" name="Imagen 87">
            <a:extLst>
              <a:ext uri="{FF2B5EF4-FFF2-40B4-BE49-F238E27FC236}">
                <a16:creationId xmlns:a16="http://schemas.microsoft.com/office/drawing/2014/main" xmlns="" id="{50672CA6-889B-FE48-94A7-5E427F321D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0602" y="4121428"/>
            <a:ext cx="601716" cy="601716"/>
          </a:xfrm>
          <a:prstGeom prst="rect">
            <a:avLst/>
          </a:prstGeom>
        </p:spPr>
      </p:pic>
      <p:pic>
        <p:nvPicPr>
          <p:cNvPr id="89" name="Imagen 88">
            <a:extLst>
              <a:ext uri="{FF2B5EF4-FFF2-40B4-BE49-F238E27FC236}">
                <a16:creationId xmlns:a16="http://schemas.microsoft.com/office/drawing/2014/main" xmlns="" id="{17CCE63E-DBC1-C044-91E5-66C2E66C123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6528" y="3990427"/>
            <a:ext cx="732717" cy="73271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75256057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Te enseñamos qué revisar de tu equipo</a:t>
            </a:r>
          </a:p>
        </p:txBody>
      </p:sp>
      <p:sp>
        <p:nvSpPr>
          <p:cNvPr id="52" name="Rectángulo 51">
            <a:extLst>
              <a:ext uri="{FF2B5EF4-FFF2-40B4-BE49-F238E27FC236}">
                <a16:creationId xmlns:a16="http://schemas.microsoft.com/office/drawing/2014/main" xmlns="" id="{1CA99DFC-63CE-2745-ADC4-4A80BF6C3BC4}"/>
              </a:ext>
            </a:extLst>
          </p:cNvPr>
          <p:cNvSpPr/>
          <p:nvPr/>
        </p:nvSpPr>
        <p:spPr>
          <a:xfrm>
            <a:off x="676723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CuadroTexto 52">
            <a:extLst>
              <a:ext uri="{FF2B5EF4-FFF2-40B4-BE49-F238E27FC236}">
                <a16:creationId xmlns:a16="http://schemas.microsoft.com/office/drawing/2014/main" xmlns="" id="{B9152467-AA85-0343-8F13-1EEDA8788E72}"/>
              </a:ext>
            </a:extLst>
          </p:cNvPr>
          <p:cNvSpPr txBox="1"/>
          <p:nvPr/>
        </p:nvSpPr>
        <p:spPr>
          <a:xfrm>
            <a:off x="1359319" y="1919664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Comandos</a:t>
            </a: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xmlns="" id="{69AE4B04-ED98-2E4E-80F0-609FE269BA39}"/>
              </a:ext>
            </a:extLst>
          </p:cNvPr>
          <p:cNvSpPr txBox="1"/>
          <p:nvPr/>
        </p:nvSpPr>
        <p:spPr>
          <a:xfrm>
            <a:off x="762919" y="2471813"/>
            <a:ext cx="317847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Existentes, buen estado, limpios, buen funcionamiento.</a:t>
            </a: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xmlns="" id="{B89471EE-A4DB-B14D-B7D7-BF9F1C138828}"/>
              </a:ext>
            </a:extLst>
          </p:cNvPr>
          <p:cNvSpPr/>
          <p:nvPr/>
        </p:nvSpPr>
        <p:spPr>
          <a:xfrm>
            <a:off x="4348175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xmlns="" id="{20F6470E-9877-CF46-A6D3-BBD4295951AD}"/>
              </a:ext>
            </a:extLst>
          </p:cNvPr>
          <p:cNvSpPr txBox="1"/>
          <p:nvPr/>
        </p:nvSpPr>
        <p:spPr>
          <a:xfrm>
            <a:off x="5045285" y="1919664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Bocina</a:t>
            </a: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xmlns="" id="{8816939A-265B-ED4E-8C7B-C0FA5A181C1A}"/>
              </a:ext>
            </a:extLst>
          </p:cNvPr>
          <p:cNvSpPr txBox="1"/>
          <p:nvPr/>
        </p:nvSpPr>
        <p:spPr>
          <a:xfrm>
            <a:off x="4434371" y="2471813"/>
            <a:ext cx="250469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.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xmlns="" id="{913E360C-A19F-4044-9199-EBA78F2B4EC0}"/>
              </a:ext>
            </a:extLst>
          </p:cNvPr>
          <p:cNvSpPr/>
          <p:nvPr/>
        </p:nvSpPr>
        <p:spPr>
          <a:xfrm>
            <a:off x="8019627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xmlns="" id="{E12F18C2-A596-E641-BCF0-0D643E381648}"/>
              </a:ext>
            </a:extLst>
          </p:cNvPr>
          <p:cNvSpPr txBox="1"/>
          <p:nvPr/>
        </p:nvSpPr>
        <p:spPr>
          <a:xfrm>
            <a:off x="8760279" y="1919664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Parada de emergencia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xmlns="" id="{60221365-1FD6-5741-BCCF-BD8E95E5BE54}"/>
              </a:ext>
            </a:extLst>
          </p:cNvPr>
          <p:cNvSpPr txBox="1"/>
          <p:nvPr/>
        </p:nvSpPr>
        <p:spPr>
          <a:xfrm>
            <a:off x="8105823" y="2471813"/>
            <a:ext cx="307799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.</a:t>
            </a: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xmlns="" id="{1B695A9C-B0C8-8540-9894-88667F408C53}"/>
              </a:ext>
            </a:extLst>
          </p:cNvPr>
          <p:cNvSpPr/>
          <p:nvPr/>
        </p:nvSpPr>
        <p:spPr>
          <a:xfrm>
            <a:off x="674366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xmlns="" id="{5506D20A-8ED9-B149-97EE-FCC72DD8F05F}"/>
              </a:ext>
            </a:extLst>
          </p:cNvPr>
          <p:cNvSpPr txBox="1"/>
          <p:nvPr/>
        </p:nvSpPr>
        <p:spPr>
          <a:xfrm>
            <a:off x="1356962" y="4190192"/>
            <a:ext cx="24022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Sistema detención “hombre muerto”</a:t>
            </a:r>
          </a:p>
        </p:txBody>
      </p:sp>
      <p:sp>
        <p:nvSpPr>
          <p:cNvPr id="63" name="CuadroTexto 62">
            <a:extLst>
              <a:ext uri="{FF2B5EF4-FFF2-40B4-BE49-F238E27FC236}">
                <a16:creationId xmlns:a16="http://schemas.microsoft.com/office/drawing/2014/main" xmlns="" id="{136EAC43-462E-114B-93BB-C3BDD2541D82}"/>
              </a:ext>
            </a:extLst>
          </p:cNvPr>
          <p:cNvSpPr txBox="1"/>
          <p:nvPr/>
        </p:nvSpPr>
        <p:spPr>
          <a:xfrm>
            <a:off x="760562" y="4858454"/>
            <a:ext cx="318083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funcionamiento (de pie o pedal, en plataforma o asiento).</a:t>
            </a:r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xmlns="" id="{DFFDA149-AF8A-0A4E-B92C-3B4E7B1C5CC9}"/>
              </a:ext>
            </a:extLst>
          </p:cNvPr>
          <p:cNvSpPr/>
          <p:nvPr/>
        </p:nvSpPr>
        <p:spPr>
          <a:xfrm>
            <a:off x="4348175" y="4014331"/>
            <a:ext cx="3447897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xmlns="" id="{1C7A3D3F-AC1B-E04B-9681-CF5A2A19FF89}"/>
              </a:ext>
            </a:extLst>
          </p:cNvPr>
          <p:cNvSpPr txBox="1"/>
          <p:nvPr/>
        </p:nvSpPr>
        <p:spPr>
          <a:xfrm>
            <a:off x="5045284" y="4282504"/>
            <a:ext cx="30090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Batería, cables y conectores</a:t>
            </a:r>
          </a:p>
        </p:txBody>
      </p:sp>
      <p:sp>
        <p:nvSpPr>
          <p:cNvPr id="66" name="CuadroTexto 65">
            <a:extLst>
              <a:ext uri="{FF2B5EF4-FFF2-40B4-BE49-F238E27FC236}">
                <a16:creationId xmlns:a16="http://schemas.microsoft.com/office/drawing/2014/main" xmlns="" id="{E6378CE0-FCFB-1D41-AD00-0CC53E941B9A}"/>
              </a:ext>
            </a:extLst>
          </p:cNvPr>
          <p:cNvSpPr txBox="1"/>
          <p:nvPr/>
        </p:nvSpPr>
        <p:spPr>
          <a:xfrm>
            <a:off x="4434371" y="4858454"/>
            <a:ext cx="3180833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atería cargada, limpia, sin derrames, sin residuos de electrolito, sin deformaciones. Conectores en buen estado, acople firme. Cables en buen estado con aislación completa.</a:t>
            </a:r>
          </a:p>
        </p:txBody>
      </p:sp>
      <p:cxnSp>
        <p:nvCxnSpPr>
          <p:cNvPr id="67" name="Conector recto 66">
            <a:extLst>
              <a:ext uri="{FF2B5EF4-FFF2-40B4-BE49-F238E27FC236}">
                <a16:creationId xmlns:a16="http://schemas.microsoft.com/office/drawing/2014/main" xmlns="" id="{7D31AAA6-0B7C-EA40-8D0C-D614A584034A}"/>
              </a:ext>
            </a:extLst>
          </p:cNvPr>
          <p:cNvCxnSpPr/>
          <p:nvPr/>
        </p:nvCxnSpPr>
        <p:spPr>
          <a:xfrm>
            <a:off x="82874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recto 67">
            <a:extLst>
              <a:ext uri="{FF2B5EF4-FFF2-40B4-BE49-F238E27FC236}">
                <a16:creationId xmlns:a16="http://schemas.microsoft.com/office/drawing/2014/main" xmlns="" id="{80B76686-7D14-5E40-AF90-547CC7803174}"/>
              </a:ext>
            </a:extLst>
          </p:cNvPr>
          <p:cNvCxnSpPr/>
          <p:nvPr/>
        </p:nvCxnSpPr>
        <p:spPr>
          <a:xfrm>
            <a:off x="45282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cto 68">
            <a:extLst>
              <a:ext uri="{FF2B5EF4-FFF2-40B4-BE49-F238E27FC236}">
                <a16:creationId xmlns:a16="http://schemas.microsoft.com/office/drawing/2014/main" xmlns="" id="{00EC8087-E094-8A4C-8092-5F64F909EAD3}"/>
              </a:ext>
            </a:extLst>
          </p:cNvPr>
          <p:cNvCxnSpPr/>
          <p:nvPr/>
        </p:nvCxnSpPr>
        <p:spPr>
          <a:xfrm>
            <a:off x="856159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xmlns="" id="{9E65ACB5-36AB-514B-A170-3C5468E1B6D1}"/>
              </a:ext>
            </a:extLst>
          </p:cNvPr>
          <p:cNvCxnSpPr/>
          <p:nvPr/>
        </p:nvCxnSpPr>
        <p:spPr>
          <a:xfrm>
            <a:off x="4542787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ector recto 70">
            <a:extLst>
              <a:ext uri="{FF2B5EF4-FFF2-40B4-BE49-F238E27FC236}">
                <a16:creationId xmlns:a16="http://schemas.microsoft.com/office/drawing/2014/main" xmlns="" id="{515E7B6E-B5F6-E84D-8599-D20A53582E14}"/>
              </a:ext>
            </a:extLst>
          </p:cNvPr>
          <p:cNvCxnSpPr/>
          <p:nvPr/>
        </p:nvCxnSpPr>
        <p:spPr>
          <a:xfrm>
            <a:off x="856158" y="4753261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Imagen 84">
            <a:extLst>
              <a:ext uri="{FF2B5EF4-FFF2-40B4-BE49-F238E27FC236}">
                <a16:creationId xmlns:a16="http://schemas.microsoft.com/office/drawing/2014/main" xmlns="" id="{BE559B3B-FDAF-7D47-87E3-F732587872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826" y="1674492"/>
            <a:ext cx="732717" cy="732717"/>
          </a:xfrm>
          <a:prstGeom prst="rect">
            <a:avLst/>
          </a:prstGeom>
        </p:spPr>
      </p:pic>
      <p:pic>
        <p:nvPicPr>
          <p:cNvPr id="87" name="Imagen 86">
            <a:extLst>
              <a:ext uri="{FF2B5EF4-FFF2-40B4-BE49-F238E27FC236}">
                <a16:creationId xmlns:a16="http://schemas.microsoft.com/office/drawing/2014/main" xmlns="" id="{8E2E1B6B-5168-C043-9188-14FF90A9FD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588" y="1696029"/>
            <a:ext cx="716882" cy="716882"/>
          </a:xfrm>
          <a:prstGeom prst="rect">
            <a:avLst/>
          </a:prstGeom>
        </p:spPr>
      </p:pic>
      <p:pic>
        <p:nvPicPr>
          <p:cNvPr id="88" name="Imagen 87">
            <a:extLst>
              <a:ext uri="{FF2B5EF4-FFF2-40B4-BE49-F238E27FC236}">
                <a16:creationId xmlns:a16="http://schemas.microsoft.com/office/drawing/2014/main" xmlns="" id="{B8F71B42-1DF1-3D4D-97D8-3F1B8399CA1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4855" y="1731286"/>
            <a:ext cx="634989" cy="634989"/>
          </a:xfrm>
          <a:prstGeom prst="rect">
            <a:avLst/>
          </a:prstGeom>
        </p:spPr>
      </p:pic>
      <p:pic>
        <p:nvPicPr>
          <p:cNvPr id="89" name="Imagen 88">
            <a:extLst>
              <a:ext uri="{FF2B5EF4-FFF2-40B4-BE49-F238E27FC236}">
                <a16:creationId xmlns:a16="http://schemas.microsoft.com/office/drawing/2014/main" xmlns="" id="{FC38D325-AE4F-AD40-9CF4-5B76D69A10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325" y="4109019"/>
            <a:ext cx="651710" cy="651710"/>
          </a:xfrm>
          <a:prstGeom prst="rect">
            <a:avLst/>
          </a:prstGeom>
        </p:spPr>
      </p:pic>
      <p:pic>
        <p:nvPicPr>
          <p:cNvPr id="90" name="Imagen 89">
            <a:extLst>
              <a:ext uri="{FF2B5EF4-FFF2-40B4-BE49-F238E27FC236}">
                <a16:creationId xmlns:a16="http://schemas.microsoft.com/office/drawing/2014/main" xmlns="" id="{01933B2E-0D8D-1741-AE5B-1641DD26267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4371" y="4106643"/>
            <a:ext cx="665805" cy="6658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457802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Te enseñamos qué revisar de tu equipo</a:t>
            </a: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xmlns="" id="{46FFF93C-4D05-AB4D-8E5A-26F9C9C0331B}"/>
              </a:ext>
            </a:extLst>
          </p:cNvPr>
          <p:cNvSpPr/>
          <p:nvPr/>
        </p:nvSpPr>
        <p:spPr>
          <a:xfrm>
            <a:off x="676723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xmlns="" id="{A6B021BE-B983-0342-AA8C-5A0C2E2753E7}"/>
              </a:ext>
            </a:extLst>
          </p:cNvPr>
          <p:cNvSpPr txBox="1"/>
          <p:nvPr/>
        </p:nvSpPr>
        <p:spPr>
          <a:xfrm>
            <a:off x="1373834" y="1919663"/>
            <a:ext cx="23412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Nivel electrolito batería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xmlns="" id="{25A9FE9E-A852-BC4A-8228-26D62783F3E1}"/>
              </a:ext>
            </a:extLst>
          </p:cNvPr>
          <p:cNvSpPr txBox="1"/>
          <p:nvPr/>
        </p:nvSpPr>
        <p:spPr>
          <a:xfrm>
            <a:off x="762919" y="2471815"/>
            <a:ext cx="317847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Nivel de electrolito en rango.</a:t>
            </a: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xmlns="" id="{70F49844-1EC7-6045-831A-21C5F909A19A}"/>
              </a:ext>
            </a:extLst>
          </p:cNvPr>
          <p:cNvSpPr/>
          <p:nvPr/>
        </p:nvSpPr>
        <p:spPr>
          <a:xfrm>
            <a:off x="4348175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xmlns="" id="{D37D875B-EBB5-174A-A297-1FA0FBCFC282}"/>
              </a:ext>
            </a:extLst>
          </p:cNvPr>
          <p:cNvSpPr txBox="1"/>
          <p:nvPr/>
        </p:nvSpPr>
        <p:spPr>
          <a:xfrm>
            <a:off x="5045287" y="1919663"/>
            <a:ext cx="216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Extintor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xmlns="" id="{9122DB79-1DA6-CC4A-BAD3-2CC2E1772661}"/>
              </a:ext>
            </a:extLst>
          </p:cNvPr>
          <p:cNvSpPr txBox="1"/>
          <p:nvPr/>
        </p:nvSpPr>
        <p:spPr>
          <a:xfrm>
            <a:off x="4434371" y="2471815"/>
            <a:ext cx="3359345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nivel de carga (manómetro), certificación y mantención anual vigente, soporte firme.</a:t>
            </a:r>
            <a:endParaRPr kumimoji="0" lang="es-ES" sz="13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xmlns="" id="{EE8C4C3F-8292-8548-BC11-6E52C88DB06E}"/>
              </a:ext>
            </a:extLst>
          </p:cNvPr>
          <p:cNvSpPr/>
          <p:nvPr/>
        </p:nvSpPr>
        <p:spPr>
          <a:xfrm>
            <a:off x="8019627" y="1627690"/>
            <a:ext cx="3445541" cy="22107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xmlns="" id="{60E5A792-E599-7246-9662-AE045366E61A}"/>
              </a:ext>
            </a:extLst>
          </p:cNvPr>
          <p:cNvSpPr txBox="1"/>
          <p:nvPr/>
        </p:nvSpPr>
        <p:spPr>
          <a:xfrm>
            <a:off x="8745767" y="1803551"/>
            <a:ext cx="21109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rPr>
              <a:t>Pantalla protectora (delantera y techo)</a:t>
            </a:r>
            <a:endParaRPr lang="es-CL" sz="1400" b="1" dirty="0">
              <a:solidFill>
                <a:schemeClr val="accent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xmlns="" id="{4EC049C5-324E-0F40-91A3-53DE8BA6F617}"/>
              </a:ext>
            </a:extLst>
          </p:cNvPr>
          <p:cNvSpPr txBox="1"/>
          <p:nvPr/>
        </p:nvSpPr>
        <p:spPr>
          <a:xfrm>
            <a:off x="8105823" y="2471815"/>
            <a:ext cx="316842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00" dirty="0">
                <a:latin typeface="ACHS Nueva Sans Medium" pitchFamily="2" charset="77"/>
                <a:cs typeface="Arial" panose="020B0604020202020204" pitchFamily="34" charset="0"/>
              </a:rPr>
              <a:t>Buen estado, existentes, completas, sin trizaduras, permiten buena visión.</a:t>
            </a:r>
          </a:p>
        </p:txBody>
      </p:sp>
      <p:cxnSp>
        <p:nvCxnSpPr>
          <p:cNvPr id="38" name="Conector recto 37">
            <a:extLst>
              <a:ext uri="{FF2B5EF4-FFF2-40B4-BE49-F238E27FC236}">
                <a16:creationId xmlns:a16="http://schemas.microsoft.com/office/drawing/2014/main" xmlns="" id="{A35CADEC-A344-B444-BDA2-32F5127A37E9}"/>
              </a:ext>
            </a:extLst>
          </p:cNvPr>
          <p:cNvCxnSpPr/>
          <p:nvPr/>
        </p:nvCxnSpPr>
        <p:spPr>
          <a:xfrm>
            <a:off x="82874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38">
            <a:extLst>
              <a:ext uri="{FF2B5EF4-FFF2-40B4-BE49-F238E27FC236}">
                <a16:creationId xmlns:a16="http://schemas.microsoft.com/office/drawing/2014/main" xmlns="" id="{6AEF9112-3F94-4644-BC59-AC855DF64000}"/>
              </a:ext>
            </a:extLst>
          </p:cNvPr>
          <p:cNvCxnSpPr/>
          <p:nvPr/>
        </p:nvCxnSpPr>
        <p:spPr>
          <a:xfrm>
            <a:off x="4528273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xmlns="" id="{9B56470B-A048-1948-8A94-99E157E61EDD}"/>
              </a:ext>
            </a:extLst>
          </p:cNvPr>
          <p:cNvCxnSpPr/>
          <p:nvPr/>
        </p:nvCxnSpPr>
        <p:spPr>
          <a:xfrm>
            <a:off x="856159" y="2370215"/>
            <a:ext cx="28589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Imagen 45">
            <a:extLst>
              <a:ext uri="{FF2B5EF4-FFF2-40B4-BE49-F238E27FC236}">
                <a16:creationId xmlns:a16="http://schemas.microsoft.com/office/drawing/2014/main" xmlns="" id="{24184160-1FE6-8F42-888A-3E9ED44714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374" y="1755572"/>
            <a:ext cx="635958" cy="635958"/>
          </a:xfrm>
          <a:prstGeom prst="rect">
            <a:avLst/>
          </a:prstGeom>
        </p:spPr>
      </p:pic>
      <p:pic>
        <p:nvPicPr>
          <p:cNvPr id="49" name="Imagen 48">
            <a:extLst>
              <a:ext uri="{FF2B5EF4-FFF2-40B4-BE49-F238E27FC236}">
                <a16:creationId xmlns:a16="http://schemas.microsoft.com/office/drawing/2014/main" xmlns="" id="{5FA91E24-A143-8145-9B04-5D40A63074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8454" y="1702614"/>
            <a:ext cx="651710" cy="651710"/>
          </a:xfrm>
          <a:prstGeom prst="rect">
            <a:avLst/>
          </a:prstGeom>
        </p:spPr>
      </p:pic>
      <p:pic>
        <p:nvPicPr>
          <p:cNvPr id="77" name="Imagen 76">
            <a:extLst>
              <a:ext uri="{FF2B5EF4-FFF2-40B4-BE49-F238E27FC236}">
                <a16:creationId xmlns:a16="http://schemas.microsoft.com/office/drawing/2014/main" xmlns="" id="{8A2343DA-A3FA-8146-832A-966FCA5BCE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53" y="1706647"/>
            <a:ext cx="651709" cy="6517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508364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90D3B9BE-10D4-734A-BA05-A05C758DE564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/>
        <p:txBody>
          <a:bodyPr>
            <a:normAutofit/>
          </a:bodyPr>
          <a:lstStyle/>
          <a:p>
            <a:r>
              <a:rPr lang="es-CL" dirty="0">
                <a:latin typeface="ACHS Nueva Serif" pitchFamily="2" charset="77"/>
              </a:rPr>
              <a:t>Para cuidar de ti y tu entorno presentamos recomendaciones para:</a:t>
            </a:r>
          </a:p>
          <a:p>
            <a:endParaRPr lang="es-CL" dirty="0">
              <a:latin typeface="ACHS Nueva Serif" pitchFamily="2" charset="77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xmlns="" id="{F9021F50-4353-0641-AF46-CE7B898F0030}"/>
              </a:ext>
            </a:extLst>
          </p:cNvPr>
          <p:cNvSpPr txBox="1"/>
          <p:nvPr/>
        </p:nvSpPr>
        <p:spPr>
          <a:xfrm>
            <a:off x="783204" y="4810375"/>
            <a:ext cx="26532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b="1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Empresas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xmlns="" id="{3AFDE43C-50AE-3E49-9E57-E2173CFD4DF8}"/>
              </a:ext>
            </a:extLst>
          </p:cNvPr>
          <p:cNvSpPr txBox="1"/>
          <p:nvPr/>
        </p:nvSpPr>
        <p:spPr>
          <a:xfrm>
            <a:off x="4609008" y="4810375"/>
            <a:ext cx="26532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b="1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Comités paritarios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xmlns="" id="{E14CD734-92BD-1A42-83FE-900A38A8EA58}"/>
              </a:ext>
            </a:extLst>
          </p:cNvPr>
          <p:cNvSpPr txBox="1"/>
          <p:nvPr/>
        </p:nvSpPr>
        <p:spPr>
          <a:xfrm>
            <a:off x="8411769" y="4810375"/>
            <a:ext cx="26532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b="1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Trabajadores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A332C7B3-5472-F644-B246-56F3CE3F16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9946" y="2788578"/>
            <a:ext cx="1727315" cy="1652465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xmlns="" id="{2E5A6A3F-0DEF-3446-A4A7-73C76D57D6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6621" y="2943055"/>
            <a:ext cx="1497988" cy="1497988"/>
          </a:xfrm>
          <a:prstGeom prst="rect">
            <a:avLst/>
          </a:prstGeom>
        </p:spPr>
      </p:pic>
      <p:pic>
        <p:nvPicPr>
          <p:cNvPr id="23" name="Imagen 22">
            <a:extLst>
              <a:ext uri="{FF2B5EF4-FFF2-40B4-BE49-F238E27FC236}">
                <a16:creationId xmlns:a16="http://schemas.microsoft.com/office/drawing/2014/main" xmlns="" id="{EAA2E1E4-7ACC-AF4F-83FD-E9B46A37BC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8891681" y="3055832"/>
            <a:ext cx="1693389" cy="12724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559156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empresas</a:t>
            </a:r>
          </a:p>
        </p:txBody>
      </p:sp>
      <p:sp>
        <p:nvSpPr>
          <p:cNvPr id="20" name="Rectángulo 15">
            <a:extLst>
              <a:ext uri="{FF2B5EF4-FFF2-40B4-BE49-F238E27FC236}">
                <a16:creationId xmlns:a16="http://schemas.microsoft.com/office/drawing/2014/main" xmlns="" id="{B8DB9ED1-3BED-4744-B0B1-DAB847836961}"/>
              </a:ext>
            </a:extLst>
          </p:cNvPr>
          <p:cNvSpPr/>
          <p:nvPr/>
        </p:nvSpPr>
        <p:spPr>
          <a:xfrm>
            <a:off x="6474982" y="3900249"/>
            <a:ext cx="2726357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Prohibir el uso de celular en áreas de operación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1" name="Rectángulo 13">
            <a:extLst>
              <a:ext uri="{FF2B5EF4-FFF2-40B4-BE49-F238E27FC236}">
                <a16:creationId xmlns:a16="http://schemas.microsoft.com/office/drawing/2014/main" xmlns="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Definir altura máxima de la carga transportada en equipos. No debe obstaculizar la visión del operador.</a:t>
            </a:r>
          </a:p>
        </p:txBody>
      </p:sp>
      <p:sp>
        <p:nvSpPr>
          <p:cNvPr id="22" name="Rectángulo 12">
            <a:extLst>
              <a:ext uri="{FF2B5EF4-FFF2-40B4-BE49-F238E27FC236}">
                <a16:creationId xmlns:a16="http://schemas.microsoft.com/office/drawing/2014/main" xmlns="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1870288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Desarrollar Reglamento de Circulación, incluir reglas de convivencia y distanciamiento de seguridad entre peatones y equipos (mínimo 3 mts.).</a:t>
            </a:r>
          </a:p>
        </p:txBody>
      </p:sp>
      <p:sp>
        <p:nvSpPr>
          <p:cNvPr id="23" name="Rectángulo 14">
            <a:extLst>
              <a:ext uri="{FF2B5EF4-FFF2-40B4-BE49-F238E27FC236}">
                <a16:creationId xmlns:a16="http://schemas.microsoft.com/office/drawing/2014/main" xmlns="" id="{E3FC91DC-022B-0343-A60E-1D4846CDFD49}"/>
              </a:ext>
            </a:extLst>
          </p:cNvPr>
          <p:cNvSpPr/>
          <p:nvPr/>
        </p:nvSpPr>
        <p:spPr>
          <a:xfrm>
            <a:off x="6474982" y="1608422"/>
            <a:ext cx="2726358" cy="1870288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Definir Layout de circulación para equipos y peatones. Incluir barreras para separar flujos y proteger peatone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44" name="Imagen 43">
            <a:extLst>
              <a:ext uri="{FF2B5EF4-FFF2-40B4-BE49-F238E27FC236}">
                <a16:creationId xmlns:a16="http://schemas.microsoft.com/office/drawing/2014/main" xmlns="" id="{B3BE4C89-37F1-E846-BE12-81F4EDF69A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203" y="1358462"/>
            <a:ext cx="1615590" cy="1615590"/>
          </a:xfrm>
          <a:prstGeom prst="rect">
            <a:avLst/>
          </a:prstGeom>
        </p:spPr>
      </p:pic>
      <p:pic>
        <p:nvPicPr>
          <p:cNvPr id="45" name="Imagen 44">
            <a:extLst>
              <a:ext uri="{FF2B5EF4-FFF2-40B4-BE49-F238E27FC236}">
                <a16:creationId xmlns:a16="http://schemas.microsoft.com/office/drawing/2014/main" xmlns="" id="{1DB4DC7A-7D70-B141-A55C-164BF99E27B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262" y="3562029"/>
            <a:ext cx="1580395" cy="1580395"/>
          </a:xfrm>
          <a:prstGeom prst="rect">
            <a:avLst/>
          </a:prstGeom>
        </p:spPr>
      </p:pic>
      <p:pic>
        <p:nvPicPr>
          <p:cNvPr id="46" name="Imagen 45">
            <a:extLst>
              <a:ext uri="{FF2B5EF4-FFF2-40B4-BE49-F238E27FC236}">
                <a16:creationId xmlns:a16="http://schemas.microsoft.com/office/drawing/2014/main" xmlns="" id="{0BC25748-82D5-C643-81AA-9FD7E99011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6197" y="1358461"/>
            <a:ext cx="1603991" cy="1603991"/>
          </a:xfrm>
          <a:prstGeom prst="rect">
            <a:avLst/>
          </a:prstGeom>
        </p:spPr>
      </p:pic>
      <p:pic>
        <p:nvPicPr>
          <p:cNvPr id="47" name="Imagen 46">
            <a:extLst>
              <a:ext uri="{FF2B5EF4-FFF2-40B4-BE49-F238E27FC236}">
                <a16:creationId xmlns:a16="http://schemas.microsoft.com/office/drawing/2014/main" xmlns="" id="{77308A48-8806-FC43-987D-0800CB1B47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0506" y="3609702"/>
            <a:ext cx="1618619" cy="1618619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33402015-CEDF-5E44-B016-146A4D8675F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40000"/>
          </a:blip>
          <a:srcRect r="28507"/>
          <a:stretch/>
        </p:blipFill>
        <p:spPr>
          <a:xfrm>
            <a:off x="9326133" y="3023108"/>
            <a:ext cx="2865867" cy="38348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090577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empresas</a:t>
            </a:r>
          </a:p>
        </p:txBody>
      </p:sp>
      <p:sp>
        <p:nvSpPr>
          <p:cNvPr id="20" name="Rectángulo 15">
            <a:extLst>
              <a:ext uri="{FF2B5EF4-FFF2-40B4-BE49-F238E27FC236}">
                <a16:creationId xmlns:a16="http://schemas.microsoft.com/office/drawing/2014/main" xmlns="" id="{B8DB9ED1-3BED-4744-B0B1-DAB847836961}"/>
              </a:ext>
            </a:extLst>
          </p:cNvPr>
          <p:cNvSpPr/>
          <p:nvPr/>
        </p:nvSpPr>
        <p:spPr>
          <a:xfrm>
            <a:off x="6457053" y="3922536"/>
            <a:ext cx="2726357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Definir uso obligatorio de ropa de alta visibilidad para toda persona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1" name="Rectángulo 13">
            <a:extLst>
              <a:ext uri="{FF2B5EF4-FFF2-40B4-BE49-F238E27FC236}">
                <a16:creationId xmlns:a16="http://schemas.microsoft.com/office/drawing/2014/main" xmlns="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870288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Identificar áreas de alto riesgo como cruces o puntos ciegos y aumentar restricciones, demarcaciones, señalización, espejos panorámicos, etc.</a:t>
            </a:r>
          </a:p>
        </p:txBody>
      </p:sp>
      <p:sp>
        <p:nvSpPr>
          <p:cNvPr id="22" name="Rectángulo 12">
            <a:extLst>
              <a:ext uri="{FF2B5EF4-FFF2-40B4-BE49-F238E27FC236}">
                <a16:creationId xmlns:a16="http://schemas.microsoft.com/office/drawing/2014/main" xmlns="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1639455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Prohibir peatones sin justificación y “atajos” por áreas de operación de equipo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3" name="Rectángulo 14">
            <a:extLst>
              <a:ext uri="{FF2B5EF4-FFF2-40B4-BE49-F238E27FC236}">
                <a16:creationId xmlns:a16="http://schemas.microsoft.com/office/drawing/2014/main" xmlns="" id="{E3FC91DC-022B-0343-A60E-1D4846CDFD49}"/>
              </a:ext>
            </a:extLst>
          </p:cNvPr>
          <p:cNvSpPr/>
          <p:nvPr/>
        </p:nvSpPr>
        <p:spPr>
          <a:xfrm>
            <a:off x="6457053" y="1608422"/>
            <a:ext cx="2329760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Establecer velocidad máxima (recomendación: 10 km/h). Programar equipos o instalar limitadores de velocidad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32" name="Imagen 31">
            <a:extLst>
              <a:ext uri="{FF2B5EF4-FFF2-40B4-BE49-F238E27FC236}">
                <a16:creationId xmlns:a16="http://schemas.microsoft.com/office/drawing/2014/main" xmlns="" id="{B6A26B9B-0622-8F4A-9D9A-B4B9DD8B01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922" y="1328495"/>
            <a:ext cx="1618243" cy="1618243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:a16="http://schemas.microsoft.com/office/drawing/2014/main" xmlns="" id="{8A582458-08CE-7143-9A4B-9C2688B1CD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262" y="3622167"/>
            <a:ext cx="1738435" cy="1738435"/>
          </a:xfrm>
          <a:prstGeom prst="rect">
            <a:avLst/>
          </a:prstGeom>
        </p:spPr>
      </p:pic>
      <p:pic>
        <p:nvPicPr>
          <p:cNvPr id="34" name="Imagen 33">
            <a:extLst>
              <a:ext uri="{FF2B5EF4-FFF2-40B4-BE49-F238E27FC236}">
                <a16:creationId xmlns:a16="http://schemas.microsoft.com/office/drawing/2014/main" xmlns="" id="{58D084A6-375B-9147-936E-9208093EC2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61920" y="3922536"/>
            <a:ext cx="858189" cy="970266"/>
          </a:xfrm>
          <a:prstGeom prst="rect">
            <a:avLst/>
          </a:prstGeom>
        </p:spPr>
      </p:pic>
      <p:pic>
        <p:nvPicPr>
          <p:cNvPr id="35" name="Imagen 34">
            <a:extLst>
              <a:ext uri="{FF2B5EF4-FFF2-40B4-BE49-F238E27FC236}">
                <a16:creationId xmlns:a16="http://schemas.microsoft.com/office/drawing/2014/main" xmlns="" id="{9FBD8FCC-E5A9-7045-B629-506EB2D26D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25735" y="1721053"/>
            <a:ext cx="970266" cy="970266"/>
          </a:xfrm>
          <a:prstGeom prst="rect">
            <a:avLst/>
          </a:prstGeom>
        </p:spPr>
      </p:pic>
      <p:pic>
        <p:nvPicPr>
          <p:cNvPr id="36" name="Imagen 35">
            <a:extLst>
              <a:ext uri="{FF2B5EF4-FFF2-40B4-BE49-F238E27FC236}">
                <a16:creationId xmlns:a16="http://schemas.microsoft.com/office/drawing/2014/main" xmlns="" id="{4D0B8116-11B1-A04F-A161-1F406DC271B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40000"/>
          </a:blip>
          <a:srcRect r="28507"/>
          <a:stretch/>
        </p:blipFill>
        <p:spPr>
          <a:xfrm>
            <a:off x="9326133" y="3023108"/>
            <a:ext cx="2865867" cy="38348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79108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358893A9-75E6-FD45-B5C2-A37F1BE61C22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>
                <a:latin typeface="ACHS Nueva Serif" pitchFamily="2" charset="77"/>
              </a:rPr>
              <a:t>Antes de comenzar</a:t>
            </a:r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xmlns="" id="{91D7553B-3FFF-6047-96D3-581ED27F3ADD}"/>
              </a:ext>
            </a:extLst>
          </p:cNvPr>
          <p:cNvSpPr txBox="1">
            <a:spLocks/>
          </p:cNvSpPr>
          <p:nvPr/>
        </p:nvSpPr>
        <p:spPr>
          <a:xfrm>
            <a:off x="526890" y="2208672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1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12" name="Marcador de texto 4">
            <a:extLst>
              <a:ext uri="{FF2B5EF4-FFF2-40B4-BE49-F238E27FC236}">
                <a16:creationId xmlns:a16="http://schemas.microsoft.com/office/drawing/2014/main" xmlns="" id="{B62A72D4-A53B-8B49-92F2-9B7C32D91C82}"/>
              </a:ext>
            </a:extLst>
          </p:cNvPr>
          <p:cNvSpPr txBox="1">
            <a:spLocks/>
          </p:cNvSpPr>
          <p:nvPr/>
        </p:nvSpPr>
        <p:spPr>
          <a:xfrm>
            <a:off x="3411953" y="2213429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2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13" name="Marcador de texto 4">
            <a:extLst>
              <a:ext uri="{FF2B5EF4-FFF2-40B4-BE49-F238E27FC236}">
                <a16:creationId xmlns:a16="http://schemas.microsoft.com/office/drawing/2014/main" xmlns="" id="{FD5C8F62-9C52-8340-82A2-E0066B86EF8A}"/>
              </a:ext>
            </a:extLst>
          </p:cNvPr>
          <p:cNvSpPr txBox="1">
            <a:spLocks/>
          </p:cNvSpPr>
          <p:nvPr/>
        </p:nvSpPr>
        <p:spPr>
          <a:xfrm>
            <a:off x="6513991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3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14" name="Marcador de texto 4">
            <a:extLst>
              <a:ext uri="{FF2B5EF4-FFF2-40B4-BE49-F238E27FC236}">
                <a16:creationId xmlns:a16="http://schemas.microsoft.com/office/drawing/2014/main" xmlns="" id="{782DF500-0203-F24A-8A0E-330617E8C7D7}"/>
              </a:ext>
            </a:extLst>
          </p:cNvPr>
          <p:cNvSpPr txBox="1">
            <a:spLocks/>
          </p:cNvSpPr>
          <p:nvPr/>
        </p:nvSpPr>
        <p:spPr>
          <a:xfrm>
            <a:off x="9585030" y="2212587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chemeClr val="bg2"/>
                </a:solidFill>
                <a:latin typeface="ACHS Nueva Sans SemiBold" pitchFamily="2" charset="77"/>
              </a:rPr>
              <a:t>04</a:t>
            </a:r>
            <a:endParaRPr lang="es-CL" sz="4800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sp>
        <p:nvSpPr>
          <p:cNvPr id="15" name="Marcador de texto 5">
            <a:extLst>
              <a:ext uri="{FF2B5EF4-FFF2-40B4-BE49-F238E27FC236}">
                <a16:creationId xmlns:a16="http://schemas.microsoft.com/office/drawing/2014/main" xmlns="" id="{C8ECA2F2-50F4-3F41-B5BD-81252D991F95}"/>
              </a:ext>
            </a:extLst>
          </p:cNvPr>
          <p:cNvSpPr txBox="1">
            <a:spLocks/>
          </p:cNvSpPr>
          <p:nvPr/>
        </p:nvSpPr>
        <p:spPr>
          <a:xfrm>
            <a:off x="584328" y="4625431"/>
            <a:ext cx="1481151" cy="4268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Bienvenida</a:t>
            </a:r>
          </a:p>
        </p:txBody>
      </p:sp>
      <p:sp>
        <p:nvSpPr>
          <p:cNvPr id="16" name="Marcador de texto 5">
            <a:extLst>
              <a:ext uri="{FF2B5EF4-FFF2-40B4-BE49-F238E27FC236}">
                <a16:creationId xmlns:a16="http://schemas.microsoft.com/office/drawing/2014/main" xmlns="" id="{6AE49AC5-1301-734E-8BD6-826D979B9B3E}"/>
              </a:ext>
            </a:extLst>
          </p:cNvPr>
          <p:cNvSpPr txBox="1">
            <a:spLocks/>
          </p:cNvSpPr>
          <p:nvPr/>
        </p:nvSpPr>
        <p:spPr>
          <a:xfrm>
            <a:off x="3399325" y="4644570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Objetivos</a:t>
            </a:r>
          </a:p>
        </p:txBody>
      </p:sp>
      <p:sp>
        <p:nvSpPr>
          <p:cNvPr id="17" name="Marcador de texto 5">
            <a:extLst>
              <a:ext uri="{FF2B5EF4-FFF2-40B4-BE49-F238E27FC236}">
                <a16:creationId xmlns:a16="http://schemas.microsoft.com/office/drawing/2014/main" xmlns="" id="{FD8C40BB-B15B-A844-A1FF-541F929A4580}"/>
              </a:ext>
            </a:extLst>
          </p:cNvPr>
          <p:cNvSpPr txBox="1">
            <a:spLocks/>
          </p:cNvSpPr>
          <p:nvPr/>
        </p:nvSpPr>
        <p:spPr>
          <a:xfrm>
            <a:off x="6392303" y="4644572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Preguntas</a:t>
            </a:r>
          </a:p>
        </p:txBody>
      </p:sp>
      <p:sp>
        <p:nvSpPr>
          <p:cNvPr id="18" name="Marcador de texto 5">
            <a:extLst>
              <a:ext uri="{FF2B5EF4-FFF2-40B4-BE49-F238E27FC236}">
                <a16:creationId xmlns:a16="http://schemas.microsoft.com/office/drawing/2014/main" xmlns="" id="{3C575E46-7519-5648-AFA8-A7DD75415D72}"/>
              </a:ext>
            </a:extLst>
          </p:cNvPr>
          <p:cNvSpPr txBox="1">
            <a:spLocks/>
          </p:cNvSpPr>
          <p:nvPr/>
        </p:nvSpPr>
        <p:spPr>
          <a:xfrm>
            <a:off x="9444431" y="4629414"/>
            <a:ext cx="1481151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chemeClr val="bg2"/>
                </a:solidFill>
                <a:latin typeface="ACHS Nueva Sans SemiBold" pitchFamily="2" charset="77"/>
              </a:rPr>
              <a:t>Presentación </a:t>
            </a:r>
            <a:r>
              <a:rPr lang="es-CL" b="1" dirty="0" smtClean="0">
                <a:solidFill>
                  <a:schemeClr val="bg2"/>
                </a:solidFill>
                <a:latin typeface="ACHS Nueva Sans SemiBold" pitchFamily="2" charset="77"/>
              </a:rPr>
              <a:t>de la charla</a:t>
            </a:r>
            <a:endParaRPr lang="es-CL" b="1" dirty="0">
              <a:solidFill>
                <a:schemeClr val="bg2"/>
              </a:solidFill>
              <a:latin typeface="ACHS Nueva Sans SemiBold" pitchFamily="2" charset="77"/>
            </a:endParaRPr>
          </a:p>
          <a:p>
            <a:pPr algn="ctr"/>
            <a:endParaRPr lang="es-CL" b="1" dirty="0">
              <a:solidFill>
                <a:schemeClr val="bg2"/>
              </a:solidFill>
              <a:latin typeface="ACHS Nueva Sans SemiBold" pitchFamily="2" charset="77"/>
            </a:endParaRPr>
          </a:p>
        </p:txBody>
      </p:sp>
      <p:pic>
        <p:nvPicPr>
          <p:cNvPr id="23" name="Imagen 22">
            <a:extLst>
              <a:ext uri="{FF2B5EF4-FFF2-40B4-BE49-F238E27FC236}">
                <a16:creationId xmlns:a16="http://schemas.microsoft.com/office/drawing/2014/main" xmlns="" id="{03F854EF-F27B-BE48-A769-4C0496D2DA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327" y="3060478"/>
            <a:ext cx="1481153" cy="1071472"/>
          </a:xfrm>
          <a:prstGeom prst="rect">
            <a:avLst/>
          </a:prstGeom>
        </p:spPr>
      </p:pic>
      <p:pic>
        <p:nvPicPr>
          <p:cNvPr id="25" name="Imagen 24">
            <a:extLst>
              <a:ext uri="{FF2B5EF4-FFF2-40B4-BE49-F238E27FC236}">
                <a16:creationId xmlns:a16="http://schemas.microsoft.com/office/drawing/2014/main" xmlns="" id="{56C07644-EDAE-3C4A-AC80-835AF3C008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10960" y="3076234"/>
            <a:ext cx="1102987" cy="1039959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xmlns="" id="{047C67DE-090A-0A4D-9DF0-AEED1D1CCB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87704" y="3165157"/>
            <a:ext cx="1157089" cy="1124948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xmlns="" id="{E2E5AB2E-67FB-294F-8367-B0F31C7289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3515201" y="3056763"/>
            <a:ext cx="1427380" cy="13417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01707038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empresas</a:t>
            </a:r>
          </a:p>
        </p:txBody>
      </p:sp>
      <p:sp>
        <p:nvSpPr>
          <p:cNvPr id="21" name="Rectángulo 13">
            <a:extLst>
              <a:ext uri="{FF2B5EF4-FFF2-40B4-BE49-F238E27FC236}">
                <a16:creationId xmlns:a16="http://schemas.microsoft.com/office/drawing/2014/main" xmlns="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Investigar todo tipo de incidentes relacionados a la operación de equipos de carga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2" name="Rectángulo 12">
            <a:extLst>
              <a:ext uri="{FF2B5EF4-FFF2-40B4-BE49-F238E27FC236}">
                <a16:creationId xmlns:a16="http://schemas.microsoft.com/office/drawing/2014/main" xmlns="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Promover la capacitación y reforzamiento a trabajadores sobre los peligros de la interacción entre equipos y peatone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3" name="Rectángulo 14">
            <a:extLst>
              <a:ext uri="{FF2B5EF4-FFF2-40B4-BE49-F238E27FC236}">
                <a16:creationId xmlns:a16="http://schemas.microsoft.com/office/drawing/2014/main" xmlns="" id="{E3FC91DC-022B-0343-A60E-1D4846CDFD49}"/>
              </a:ext>
            </a:extLst>
          </p:cNvPr>
          <p:cNvSpPr/>
          <p:nvPr/>
        </p:nvSpPr>
        <p:spPr>
          <a:xfrm>
            <a:off x="6457053" y="1608422"/>
            <a:ext cx="2726358" cy="3486115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Realizar recorridos de seguridad y revisar acciones y condiciones inseguras, como: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 smtClean="0">
                <a:latin typeface="ACHS Nueva Sans Medium" pitchFamily="2" charset="77"/>
              </a:rPr>
              <a:t>Distanciamientos</a:t>
            </a:r>
            <a:endParaRPr lang="es-CL" sz="1500" dirty="0">
              <a:latin typeface="ACHS Nueva Sans Medium" pitchFamily="2" charset="77"/>
            </a:endParaRP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 smtClean="0">
                <a:latin typeface="ACHS Nueva Sans Medium" pitchFamily="2" charset="77"/>
              </a:rPr>
              <a:t>Protecciones</a:t>
            </a:r>
            <a:endParaRPr lang="es-CL" sz="1500" dirty="0">
              <a:latin typeface="ACHS Nueva Sans Medium" pitchFamily="2" charset="77"/>
            </a:endParaRP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 smtClean="0">
                <a:latin typeface="ACHS Nueva Sans Medium" pitchFamily="2" charset="77"/>
              </a:rPr>
              <a:t>Demarcaciones</a:t>
            </a:r>
            <a:endParaRPr lang="es-CL" sz="1500" dirty="0">
              <a:latin typeface="ACHS Nueva Sans Medium" pitchFamily="2" charset="77"/>
            </a:endParaRP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Señales de </a:t>
            </a:r>
            <a:r>
              <a:rPr lang="es-CL" sz="1500" dirty="0" smtClean="0">
                <a:latin typeface="ACHS Nueva Sans Medium" pitchFamily="2" charset="77"/>
              </a:rPr>
              <a:t>seguridad</a:t>
            </a:r>
            <a:endParaRPr lang="es-CL" sz="1500" dirty="0">
              <a:latin typeface="ACHS Nueva Sans Medium" pitchFamily="2" charset="77"/>
            </a:endParaRP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Uso de ropa de alta </a:t>
            </a:r>
            <a:r>
              <a:rPr lang="es-CL" sz="1500" dirty="0" smtClean="0">
                <a:latin typeface="ACHS Nueva Sans Medium" pitchFamily="2" charset="77"/>
              </a:rPr>
              <a:t>visibilidad</a:t>
            </a:r>
            <a:endParaRPr lang="es-CL" sz="1500" dirty="0">
              <a:latin typeface="ACHS Nueva Sans Medium" pitchFamily="2" charset="77"/>
            </a:endParaRPr>
          </a:p>
          <a:p>
            <a:pPr marL="537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sz="1500" dirty="0">
                <a:latin typeface="ACHS Nueva Sans Medium" pitchFamily="2" charset="77"/>
              </a:rPr>
              <a:t>Peatones en áreas de </a:t>
            </a:r>
            <a:r>
              <a:rPr lang="es-CL" sz="1500" dirty="0" smtClean="0">
                <a:latin typeface="ACHS Nueva Sans Medium" pitchFamily="2" charset="77"/>
              </a:rPr>
              <a:t>operación</a:t>
            </a: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32" name="Imagen 31">
            <a:extLst>
              <a:ext uri="{FF2B5EF4-FFF2-40B4-BE49-F238E27FC236}">
                <a16:creationId xmlns:a16="http://schemas.microsoft.com/office/drawing/2014/main" xmlns="" id="{F1B5B23E-77FA-7F42-B522-45BBBD08EE2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1876" y="1313020"/>
            <a:ext cx="1615590" cy="1615590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:a16="http://schemas.microsoft.com/office/drawing/2014/main" xmlns="" id="{4D907FF6-C79A-0A4F-9926-59040868B91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36" y="1196357"/>
            <a:ext cx="1684594" cy="1684594"/>
          </a:xfrm>
          <a:prstGeom prst="rect">
            <a:avLst/>
          </a:prstGeom>
        </p:spPr>
      </p:pic>
      <p:pic>
        <p:nvPicPr>
          <p:cNvPr id="34" name="Imagen 33">
            <a:extLst>
              <a:ext uri="{FF2B5EF4-FFF2-40B4-BE49-F238E27FC236}">
                <a16:creationId xmlns:a16="http://schemas.microsoft.com/office/drawing/2014/main" xmlns="" id="{7E2C61C4-7A0C-BD4B-8AC4-128598FA89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74" y="3569222"/>
            <a:ext cx="1760042" cy="1760042"/>
          </a:xfrm>
          <a:prstGeom prst="rect">
            <a:avLst/>
          </a:prstGeom>
        </p:spPr>
      </p:pic>
      <p:pic>
        <p:nvPicPr>
          <p:cNvPr id="35" name="Imagen 34">
            <a:extLst>
              <a:ext uri="{FF2B5EF4-FFF2-40B4-BE49-F238E27FC236}">
                <a16:creationId xmlns:a16="http://schemas.microsoft.com/office/drawing/2014/main" xmlns="" id="{6F9FAA80-7475-4D49-A243-BA58D791674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alphaModFix amt="40000"/>
          </a:blip>
          <a:srcRect r="29013"/>
          <a:stretch/>
        </p:blipFill>
        <p:spPr>
          <a:xfrm>
            <a:off x="9538443" y="3154906"/>
            <a:ext cx="2653557" cy="37380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850475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empresas</a:t>
            </a:r>
          </a:p>
        </p:txBody>
      </p:sp>
      <p:sp>
        <p:nvSpPr>
          <p:cNvPr id="20" name="Rectángulo 15">
            <a:extLst>
              <a:ext uri="{FF2B5EF4-FFF2-40B4-BE49-F238E27FC236}">
                <a16:creationId xmlns:a16="http://schemas.microsoft.com/office/drawing/2014/main" xmlns="" id="{B8DB9ED1-3BED-4744-B0B1-DAB847836961}"/>
              </a:ext>
            </a:extLst>
          </p:cNvPr>
          <p:cNvSpPr/>
          <p:nvPr/>
        </p:nvSpPr>
        <p:spPr>
          <a:xfrm>
            <a:off x="6474982" y="3898194"/>
            <a:ext cx="2726357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Tocar bocina y disminuir velocidad en salidas de racks, ingreso o salida de bodega, etc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1" name="Rectángulo 13">
            <a:extLst>
              <a:ext uri="{FF2B5EF4-FFF2-40B4-BE49-F238E27FC236}">
                <a16:creationId xmlns:a16="http://schemas.microsoft.com/office/drawing/2014/main" xmlns="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No obstaculizar la visión al trasladar carga con equipo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</p:txBody>
      </p:sp>
      <p:sp>
        <p:nvSpPr>
          <p:cNvPr id="22" name="Rectángulo 12">
            <a:extLst>
              <a:ext uri="{FF2B5EF4-FFF2-40B4-BE49-F238E27FC236}">
                <a16:creationId xmlns:a16="http://schemas.microsoft.com/office/drawing/2014/main" xmlns="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1639455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500" dirty="0">
                <a:latin typeface="ACHS Nueva Sans Medium" pitchFamily="2" charset="77"/>
              </a:rPr>
              <a:t>Respetar distancia de seguridad entre peatones y equipos (mínimo 3 mts.)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ES" sz="1500" dirty="0">
              <a:latin typeface="ACHS Nueva Sans Medium" pitchFamily="2" charset="77"/>
            </a:endParaRPr>
          </a:p>
        </p:txBody>
      </p:sp>
      <p:sp>
        <p:nvSpPr>
          <p:cNvPr id="23" name="Rectángulo 14">
            <a:extLst>
              <a:ext uri="{FF2B5EF4-FFF2-40B4-BE49-F238E27FC236}">
                <a16:creationId xmlns:a16="http://schemas.microsoft.com/office/drawing/2014/main" xmlns="" id="{E3FC91DC-022B-0343-A60E-1D4846CDFD49}"/>
              </a:ext>
            </a:extLst>
          </p:cNvPr>
          <p:cNvSpPr/>
          <p:nvPr/>
        </p:nvSpPr>
        <p:spPr>
          <a:xfrm>
            <a:off x="6474982" y="1608422"/>
            <a:ext cx="2726358" cy="1408623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Usar pasillo peatonal. Evitar ingreso a área de operación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34" name="Imagen 33">
            <a:extLst>
              <a:ext uri="{FF2B5EF4-FFF2-40B4-BE49-F238E27FC236}">
                <a16:creationId xmlns:a16="http://schemas.microsoft.com/office/drawing/2014/main" xmlns="" id="{AE0C7DDF-DF50-014B-915E-B4F589858A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4587" y="1442841"/>
            <a:ext cx="1580395" cy="1580395"/>
          </a:xfrm>
          <a:prstGeom prst="rect">
            <a:avLst/>
          </a:prstGeom>
        </p:spPr>
      </p:pic>
      <p:pic>
        <p:nvPicPr>
          <p:cNvPr id="36" name="Imagen 35">
            <a:extLst>
              <a:ext uri="{FF2B5EF4-FFF2-40B4-BE49-F238E27FC236}">
                <a16:creationId xmlns:a16="http://schemas.microsoft.com/office/drawing/2014/main" xmlns="" id="{A724B431-5CD3-734B-9DC0-FD49F61C67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252" y="3596000"/>
            <a:ext cx="1603991" cy="1603991"/>
          </a:xfrm>
          <a:prstGeom prst="rect">
            <a:avLst/>
          </a:prstGeom>
        </p:spPr>
      </p:pic>
      <p:pic>
        <p:nvPicPr>
          <p:cNvPr id="37" name="Imagen 36">
            <a:extLst>
              <a:ext uri="{FF2B5EF4-FFF2-40B4-BE49-F238E27FC236}">
                <a16:creationId xmlns:a16="http://schemas.microsoft.com/office/drawing/2014/main" xmlns="" id="{12300312-3AAD-3D46-A90B-CB8B856C6F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4850" y="3555281"/>
            <a:ext cx="1828480" cy="1828480"/>
          </a:xfrm>
          <a:prstGeom prst="rect">
            <a:avLst/>
          </a:prstGeom>
        </p:spPr>
      </p:pic>
      <p:pic>
        <p:nvPicPr>
          <p:cNvPr id="38" name="Imagen 37">
            <a:extLst>
              <a:ext uri="{FF2B5EF4-FFF2-40B4-BE49-F238E27FC236}">
                <a16:creationId xmlns:a16="http://schemas.microsoft.com/office/drawing/2014/main" xmlns="" id="{8DF6C08A-8D59-5848-A3DB-C65A2AF6B4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3640" y="1729421"/>
            <a:ext cx="1153894" cy="1013779"/>
          </a:xfrm>
          <a:prstGeom prst="rect">
            <a:avLst/>
          </a:prstGeom>
        </p:spPr>
      </p:pic>
      <p:pic>
        <p:nvPicPr>
          <p:cNvPr id="39" name="Imagen 38">
            <a:extLst>
              <a:ext uri="{FF2B5EF4-FFF2-40B4-BE49-F238E27FC236}">
                <a16:creationId xmlns:a16="http://schemas.microsoft.com/office/drawing/2014/main" xmlns="" id="{6C77AFBE-4BC5-464B-B956-2A856A1C43E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40000"/>
          </a:blip>
          <a:srcRect l="50000" b="8155"/>
          <a:stretch/>
        </p:blipFill>
        <p:spPr>
          <a:xfrm flipH="1">
            <a:off x="9652550" y="3352887"/>
            <a:ext cx="2539449" cy="350511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226802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Medidas de control para empresas</a:t>
            </a:r>
          </a:p>
        </p:txBody>
      </p:sp>
      <p:sp>
        <p:nvSpPr>
          <p:cNvPr id="20" name="Rectángulo 15">
            <a:extLst>
              <a:ext uri="{FF2B5EF4-FFF2-40B4-BE49-F238E27FC236}">
                <a16:creationId xmlns:a16="http://schemas.microsoft.com/office/drawing/2014/main" xmlns="" id="{B8DB9ED1-3BED-4744-B0B1-DAB847836961}"/>
              </a:ext>
            </a:extLst>
          </p:cNvPr>
          <p:cNvSpPr/>
          <p:nvPr/>
        </p:nvSpPr>
        <p:spPr>
          <a:xfrm>
            <a:off x="6457053" y="3898194"/>
            <a:ext cx="2726357" cy="1177791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Usar ropa de alta visibilidad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1" name="Rectángulo 13">
            <a:extLst>
              <a:ext uri="{FF2B5EF4-FFF2-40B4-BE49-F238E27FC236}">
                <a16:creationId xmlns:a16="http://schemas.microsoft.com/office/drawing/2014/main" xmlns="" id="{81380F6A-4CA3-2846-9869-28C67059B603}"/>
              </a:ext>
            </a:extLst>
          </p:cNvPr>
          <p:cNvSpPr/>
          <p:nvPr/>
        </p:nvSpPr>
        <p:spPr>
          <a:xfrm>
            <a:off x="1996243" y="3898194"/>
            <a:ext cx="2726358" cy="1177791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No usar distractores al caminar o al operar equipos.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sp>
        <p:nvSpPr>
          <p:cNvPr id="22" name="Rectángulo 12">
            <a:extLst>
              <a:ext uri="{FF2B5EF4-FFF2-40B4-BE49-F238E27FC236}">
                <a16:creationId xmlns:a16="http://schemas.microsoft.com/office/drawing/2014/main" xmlns="" id="{3BF8732D-9052-4546-BC63-C3D47CFDA501}"/>
              </a:ext>
            </a:extLst>
          </p:cNvPr>
          <p:cNvSpPr/>
          <p:nvPr/>
        </p:nvSpPr>
        <p:spPr>
          <a:xfrm>
            <a:off x="1996243" y="1608422"/>
            <a:ext cx="2726358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Detenerse, mirar y escuchar antes de ingresar a un área con equipos en movimiento. Hacer contacto visual con operadores y esperar preferencia de paso.</a:t>
            </a:r>
          </a:p>
        </p:txBody>
      </p:sp>
      <p:sp>
        <p:nvSpPr>
          <p:cNvPr id="23" name="Rectángulo 14">
            <a:extLst>
              <a:ext uri="{FF2B5EF4-FFF2-40B4-BE49-F238E27FC236}">
                <a16:creationId xmlns:a16="http://schemas.microsoft.com/office/drawing/2014/main" xmlns="" id="{E3FC91DC-022B-0343-A60E-1D4846CDFD49}"/>
              </a:ext>
            </a:extLst>
          </p:cNvPr>
          <p:cNvSpPr/>
          <p:nvPr/>
        </p:nvSpPr>
        <p:spPr>
          <a:xfrm>
            <a:off x="6457053" y="1608422"/>
            <a:ext cx="2726358" cy="2101120"/>
          </a:xfrm>
          <a:prstGeom prst="rect">
            <a:avLst/>
          </a:prstGeom>
          <a:noFill/>
        </p:spPr>
        <p:txBody>
          <a:bodyPr wrap="square" lIns="108000" tIns="144000" rIns="108000" bIns="10800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s-CL" sz="1500" dirty="0">
                <a:latin typeface="ACHS Nueva Sans Medium" pitchFamily="2" charset="77"/>
              </a:rPr>
              <a:t>Operar equipos a velocidad moderada (recomendación: 10 km/h). 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s-CL" sz="1500" dirty="0">
              <a:latin typeface="ACHS Nueva Sans Medium" pitchFamily="2" charset="77"/>
            </a:endParaRPr>
          </a:p>
        </p:txBody>
      </p:sp>
      <p:pic>
        <p:nvPicPr>
          <p:cNvPr id="24" name="Imagen 23">
            <a:extLst>
              <a:ext uri="{FF2B5EF4-FFF2-40B4-BE49-F238E27FC236}">
                <a16:creationId xmlns:a16="http://schemas.microsoft.com/office/drawing/2014/main" xmlns="" id="{00445BF0-CD10-B142-BEE4-C9F6C5C59E1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40000"/>
          </a:blip>
          <a:srcRect l="50000" b="8155"/>
          <a:stretch/>
        </p:blipFill>
        <p:spPr>
          <a:xfrm flipH="1">
            <a:off x="9652550" y="3352887"/>
            <a:ext cx="2539449" cy="3505113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xmlns="" id="{530F3FC2-3FAF-8C4E-A455-9794DAFCB0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26" y="3590162"/>
            <a:ext cx="1738435" cy="1738435"/>
          </a:xfrm>
          <a:prstGeom prst="rect">
            <a:avLst/>
          </a:prstGeom>
        </p:spPr>
      </p:pic>
      <p:pic>
        <p:nvPicPr>
          <p:cNvPr id="31" name="Imagen 30">
            <a:extLst>
              <a:ext uri="{FF2B5EF4-FFF2-40B4-BE49-F238E27FC236}">
                <a16:creationId xmlns:a16="http://schemas.microsoft.com/office/drawing/2014/main" xmlns="" id="{FD931538-CD8C-644D-8F5C-C58978C359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25735" y="1721053"/>
            <a:ext cx="970266" cy="970266"/>
          </a:xfrm>
          <a:prstGeom prst="rect">
            <a:avLst/>
          </a:prstGeom>
        </p:spPr>
      </p:pic>
      <p:pic>
        <p:nvPicPr>
          <p:cNvPr id="32" name="Imagen 31">
            <a:extLst>
              <a:ext uri="{FF2B5EF4-FFF2-40B4-BE49-F238E27FC236}">
                <a16:creationId xmlns:a16="http://schemas.microsoft.com/office/drawing/2014/main" xmlns="" id="{6AAD08EB-A647-0444-9F57-1A8416D294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61920" y="3922536"/>
            <a:ext cx="858189" cy="970266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:a16="http://schemas.microsoft.com/office/drawing/2014/main" xmlns="" id="{9308E45A-AA9C-1E4C-AEC4-ADDA226343B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1644" y="1715615"/>
            <a:ext cx="1313277" cy="69725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039889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Entrega de material preventivo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3"/>
            <a:ext cx="2607446" cy="13834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Descripción, principales peligros e incidentes en los trabajos relacionados con Grúa Horquilla Reach.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41FBD83D-F2BC-EA4C-ADC2-0796453339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6709" y="248193"/>
            <a:ext cx="8072485" cy="69488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502278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9F65B9E0-A340-2346-9F88-6AB25A7DC6AA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>
                <a:latin typeface="ACHS Nueva Serif" pitchFamily="2" charset="77"/>
              </a:rPr>
              <a:t>Entrega de material preventivo</a:t>
            </a:r>
          </a:p>
          <a:p>
            <a:endParaRPr lang="es-CL" dirty="0">
              <a:latin typeface="ACHS Nueva Serif" pitchFamily="2" charset="77"/>
            </a:endParaRP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9140F96-0E05-B141-AE70-8963550CE41A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49262" y="966894"/>
            <a:ext cx="9865812" cy="356282"/>
          </a:xfrm>
        </p:spPr>
        <p:txBody>
          <a:bodyPr/>
          <a:lstStyle/>
          <a:p>
            <a:r>
              <a:rPr lang="es-CL" dirty="0">
                <a:latin typeface="ACHS Nueva Sans Medium" pitchFamily="2" charset="77"/>
              </a:rPr>
              <a:t>Pauta de Inspección Diaria</a:t>
            </a:r>
          </a:p>
          <a:p>
            <a:endParaRPr lang="es-CL" dirty="0">
              <a:latin typeface="ACHS Nueva Sans Medium" pitchFamily="2" charset="77"/>
            </a:endParaRP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xmlns="" id="{3B154938-25B1-D743-BFEE-9126752ACF36}"/>
              </a:ext>
            </a:extLst>
          </p:cNvPr>
          <p:cNvGrpSpPr/>
          <p:nvPr/>
        </p:nvGrpSpPr>
        <p:grpSpPr>
          <a:xfrm>
            <a:off x="3466196" y="1299922"/>
            <a:ext cx="6899678" cy="5038253"/>
            <a:chOff x="3810000" y="1308949"/>
            <a:chExt cx="6874955" cy="5020200"/>
          </a:xfrm>
        </p:grpSpPr>
        <p:pic>
          <p:nvPicPr>
            <p:cNvPr id="6" name="Imagen 5">
              <a:extLst>
                <a:ext uri="{FF2B5EF4-FFF2-40B4-BE49-F238E27FC236}">
                  <a16:creationId xmlns:a16="http://schemas.microsoft.com/office/drawing/2014/main" xmlns="" id="{E4C9B390-2C67-8E40-9CFA-9E7C055E90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10000" y="1308949"/>
              <a:ext cx="6874955" cy="5020200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xmlns="" id="{3AA0A336-E0BA-FE4E-824D-8336F1DD8758}"/>
                </a:ext>
              </a:extLst>
            </p:cNvPr>
            <p:cNvSpPr/>
            <p:nvPr/>
          </p:nvSpPr>
          <p:spPr>
            <a:xfrm>
              <a:off x="9597656" y="1338021"/>
              <a:ext cx="886046" cy="83810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pic>
          <p:nvPicPr>
            <p:cNvPr id="8" name="Picture 9">
              <a:extLst>
                <a:ext uri="{FF2B5EF4-FFF2-40B4-BE49-F238E27FC236}">
                  <a16:creationId xmlns:a16="http://schemas.microsoft.com/office/drawing/2014/main" xmlns="" id="{373A8551-288B-7045-9EED-6EB0C4E4EC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153547" y="1545234"/>
              <a:ext cx="1161527" cy="476035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4743051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B035BA01-3820-0D49-B44E-B4F99E744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8FF4BCEE-EF67-F649-AF32-944821D8ED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09574CC7-AE90-D142-A007-56E366130952}"/>
              </a:ext>
            </a:extLst>
          </p:cNvPr>
          <p:cNvSpPr/>
          <p:nvPr/>
        </p:nvSpPr>
        <p:spPr>
          <a:xfrm>
            <a:off x="0" y="118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22AF48BE-1D16-174E-9D61-AAAA6E1FDA71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34DA0A71-997A-6648-A38D-B5CEF703E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88DFC691-DBE8-004F-A13D-664670C5C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1274D962-464B-6A4E-BB2A-5D7CFEA38C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916A0246-60AB-E848-807A-41356E60F15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E4AD6C16-93E3-E145-953C-336B7AACA87C}"/>
              </a:ext>
            </a:extLst>
          </p:cNvPr>
          <p:cNvSpPr/>
          <p:nvPr/>
        </p:nvSpPr>
        <p:spPr>
          <a:xfrm>
            <a:off x="452954" y="440791"/>
            <a:ext cx="62808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abiert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B6014957-C826-9C45-BC05-9121603F1D0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xmlns="" id="{6074E660-AA37-9E45-8D6E-CAAC7EB0A77B}"/>
              </a:ext>
            </a:extLst>
          </p:cNvPr>
          <p:cNvCxnSpPr>
            <a:cxnSpLocks/>
          </p:cNvCxnSpPr>
          <p:nvPr/>
        </p:nvCxnSpPr>
        <p:spPr>
          <a:xfrm>
            <a:off x="535129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:a16="http://schemas.microsoft.com/office/drawing/2014/main" xmlns="" id="{F0CB735D-06B5-B341-AC4F-A43926FC2125}"/>
              </a:ext>
            </a:extLst>
          </p:cNvPr>
          <p:cNvSpPr/>
          <p:nvPr/>
        </p:nvSpPr>
        <p:spPr>
          <a:xfrm>
            <a:off x="1357049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94D5BD24-B25B-0348-81AE-8B0005A9356E}"/>
              </a:ext>
            </a:extLst>
          </p:cNvPr>
          <p:cNvSpPr/>
          <p:nvPr/>
        </p:nvSpPr>
        <p:spPr>
          <a:xfrm>
            <a:off x="7366082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792C80F6-197E-164E-929B-FF5B71010328}"/>
              </a:ext>
            </a:extLst>
          </p:cNvPr>
          <p:cNvSpPr txBox="1">
            <a:spLocks/>
          </p:cNvSpPr>
          <p:nvPr/>
        </p:nvSpPr>
        <p:spPr>
          <a:xfrm>
            <a:off x="5958451" y="2923972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tinyurl.com/26vbepn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34643A48-629B-8542-A236-DED458AE96D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7118" y="2627956"/>
            <a:ext cx="1625051" cy="16288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368969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F0317DA-7C74-1548-9D23-0BFB8866C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7CC3F05D-7E38-9645-BAA9-459EE8109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52BD712E-6A3D-4342-B8CA-C4A51CDB477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13C045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B63C7CAB-FA4F-1745-9571-70574C4DB2EB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9CBA5BF2-5B2A-484C-8814-AFFB5F9CD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4E3359A4-44E0-1547-8EA4-A8EF46656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50DEDFD7-C412-3C40-AB72-78E8FFC62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255B9AF1-52CC-2343-85D3-3845CBB0F8C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52DB2E02-B54A-514F-BDA4-EFDA7F802CB0}"/>
              </a:ext>
            </a:extLst>
          </p:cNvPr>
          <p:cNvSpPr/>
          <p:nvPr/>
        </p:nvSpPr>
        <p:spPr>
          <a:xfrm>
            <a:off x="473261" y="411644"/>
            <a:ext cx="633057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CHS Nueva Serif" pitchFamily="2" charset="77"/>
                <a:cs typeface="Arial" panose="020B0604020202020204" pitchFamily="34" charset="0"/>
              </a:rPr>
              <a:t>Encuesta de satisfacción – Curso  cerrado presenci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F7E0F5A1-98C2-AD4B-8707-ABC2A7D517A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xmlns="" id="{A9D57230-4199-4046-BF66-AFC00D33CA09}"/>
              </a:ext>
            </a:extLst>
          </p:cNvPr>
          <p:cNvCxnSpPr>
            <a:cxnSpLocks/>
          </p:cNvCxnSpPr>
          <p:nvPr/>
        </p:nvCxnSpPr>
        <p:spPr>
          <a:xfrm>
            <a:off x="535129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Rectángulo 12">
            <a:extLst>
              <a:ext uri="{FF2B5EF4-FFF2-40B4-BE49-F238E27FC236}">
                <a16:creationId xmlns:a16="http://schemas.microsoft.com/office/drawing/2014/main" xmlns="" id="{86BC6BC7-E20A-9247-A50E-0570BBC7EEAE}"/>
              </a:ext>
            </a:extLst>
          </p:cNvPr>
          <p:cNvSpPr/>
          <p:nvPr/>
        </p:nvSpPr>
        <p:spPr>
          <a:xfrm>
            <a:off x="1357049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E086CC3D-33B0-3144-9EF3-77898E9C108B}"/>
              </a:ext>
            </a:extLst>
          </p:cNvPr>
          <p:cNvSpPr/>
          <p:nvPr/>
        </p:nvSpPr>
        <p:spPr>
          <a:xfrm>
            <a:off x="7366082" y="5488534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CHS Nueva Sans" pitchFamily="2" charset="77"/>
                <a:cs typeface="Arial" panose="020B0604020202020204" pitchFamily="34" charset="0"/>
              </a:rPr>
              <a:t>O ingresa a este link</a:t>
            </a:r>
          </a:p>
        </p:txBody>
      </p:sp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72A2680E-4576-5A4B-A104-46E1C4C9804A}"/>
              </a:ext>
            </a:extLst>
          </p:cNvPr>
          <p:cNvSpPr txBox="1">
            <a:spLocks/>
          </p:cNvSpPr>
          <p:nvPr/>
        </p:nvSpPr>
        <p:spPr>
          <a:xfrm>
            <a:off x="5851683" y="2967163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tinyurl.</a:t>
            </a:r>
            <a:r>
              <a:rPr lang="es-CL" sz="2400" b="0" u="sng" kern="0" dirty="0">
                <a:solidFill>
                  <a:srgbClr val="00C42A"/>
                </a:solidFill>
                <a:latin typeface="ACHS Nueva Sans" pitchFamily="2" charset="77"/>
              </a:rPr>
              <a:t>com</a:t>
            </a:r>
            <a:r>
              <a:rPr lang="es-CL" sz="2400" b="0" u="sng" kern="0" dirty="0">
                <a:solidFill>
                  <a:srgbClr val="00C42A"/>
                </a:solidFill>
                <a:latin typeface="ACHS Nueva Sans Medium" pitchFamily="2" charset="77"/>
              </a:rPr>
              <a:t>/</a:t>
            </a:r>
            <a:r>
              <a:rPr lang="es-CL" sz="2400" b="0" u="sng" kern="0" dirty="0" err="1">
                <a:solidFill>
                  <a:srgbClr val="00C42A"/>
                </a:solidFill>
                <a:latin typeface="ACHS Nueva Sans Medium" pitchFamily="2" charset="77"/>
              </a:rPr>
              <a:t>ujnzkjew</a:t>
            </a:r>
            <a:endParaRPr lang="es-CL" sz="2400" b="0" u="sng" kern="0" dirty="0">
              <a:solidFill>
                <a:srgbClr val="00C42A"/>
              </a:solidFill>
              <a:latin typeface="ACHS Nueva Sans Medium" pitchFamily="2" charset="77"/>
            </a:endParaRP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2702EFA0-33F1-4245-8373-7B1B273255C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33680" y="2590800"/>
            <a:ext cx="1657927" cy="1676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067860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413177390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E4E96A31-11CD-E74D-9D74-A6E6EFC55426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>
                <a:latin typeface="ACHS Nueva Serif" pitchFamily="2" charset="77"/>
              </a:rPr>
              <a:t>Objetivo del curso</a:t>
            </a:r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xmlns="" id="{B15F783E-CCE9-6A45-B023-A756F506D3FB}"/>
              </a:ext>
            </a:extLst>
          </p:cNvPr>
          <p:cNvCxnSpPr>
            <a:cxnSpLocks/>
          </p:cNvCxnSpPr>
          <p:nvPr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Marcador de texto 4">
            <a:extLst>
              <a:ext uri="{FF2B5EF4-FFF2-40B4-BE49-F238E27FC236}">
                <a16:creationId xmlns:a16="http://schemas.microsoft.com/office/drawing/2014/main" xmlns="" id="{5896A767-BE9B-FC40-B758-33EE8FEBBA27}"/>
              </a:ext>
            </a:extLst>
          </p:cNvPr>
          <p:cNvSpPr txBox="1">
            <a:spLocks/>
          </p:cNvSpPr>
          <p:nvPr/>
        </p:nvSpPr>
        <p:spPr>
          <a:xfrm>
            <a:off x="449263" y="2841172"/>
            <a:ext cx="4546483" cy="894488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5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5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049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>
                <a:latin typeface="ACHS Nueva Sans Medium" pitchFamily="2" charset="77"/>
              </a:rPr>
              <a:t>Conocer prácticas seguras en la operación de la grúa horquilla </a:t>
            </a:r>
            <a:r>
              <a:rPr lang="es-ES" b="1" i="1" dirty="0">
                <a:latin typeface="ACHS Nueva Sans Medium" pitchFamily="2" charset="77"/>
              </a:rPr>
              <a:t>“Reach” </a:t>
            </a:r>
            <a:r>
              <a:rPr lang="es-ES" dirty="0">
                <a:latin typeface="ACHS Nueva Sans Medium" pitchFamily="2" charset="77"/>
              </a:rPr>
              <a:t>en el movimiento de cargas.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3D59D9C0-0F50-5945-B5F4-47E650792B10}"/>
              </a:ext>
            </a:extLst>
          </p:cNvPr>
          <p:cNvSpPr txBox="1">
            <a:spLocks/>
          </p:cNvSpPr>
          <p:nvPr/>
        </p:nvSpPr>
        <p:spPr>
          <a:xfrm>
            <a:off x="436561" y="2157287"/>
            <a:ext cx="2996067" cy="2291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b="1" dirty="0">
                <a:solidFill>
                  <a:schemeClr val="tx2"/>
                </a:solidFill>
                <a:latin typeface="ACHS Nueva Serif" pitchFamily="2" charset="77"/>
              </a:rPr>
              <a:t>OBJETIVO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xmlns="" id="{AF65B942-F80F-5B43-A733-7A72D80B25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88304" y="1898027"/>
            <a:ext cx="5376962" cy="55351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85222946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E4E96A31-11CD-E74D-9D74-A6E6EFC55426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>
                <a:latin typeface="ACHS Nueva Serif" pitchFamily="2" charset="77"/>
              </a:rPr>
              <a:t>Objetivo del curso</a:t>
            </a:r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xmlns="" id="{B15F783E-CCE9-6A45-B023-A756F506D3FB}"/>
              </a:ext>
            </a:extLst>
          </p:cNvPr>
          <p:cNvCxnSpPr>
            <a:cxnSpLocks/>
          </p:cNvCxnSpPr>
          <p:nvPr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Marcador de texto 4">
            <a:extLst>
              <a:ext uri="{FF2B5EF4-FFF2-40B4-BE49-F238E27FC236}">
                <a16:creationId xmlns:a16="http://schemas.microsoft.com/office/drawing/2014/main" xmlns="" id="{5896A767-BE9B-FC40-B758-33EE8FEBBA27}"/>
              </a:ext>
            </a:extLst>
          </p:cNvPr>
          <p:cNvSpPr txBox="1">
            <a:spLocks/>
          </p:cNvSpPr>
          <p:nvPr/>
        </p:nvSpPr>
        <p:spPr>
          <a:xfrm>
            <a:off x="449263" y="2841171"/>
            <a:ext cx="4792208" cy="2475821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5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5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049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>
                <a:latin typeface="ACHS Nueva Sans Medium" pitchFamily="2" charset="77"/>
              </a:rPr>
              <a:t>Ser trabajador de empresa que se encuentran afiliadas a ACHS.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3D59D9C0-0F50-5945-B5F4-47E650792B10}"/>
              </a:ext>
            </a:extLst>
          </p:cNvPr>
          <p:cNvSpPr txBox="1">
            <a:spLocks/>
          </p:cNvSpPr>
          <p:nvPr/>
        </p:nvSpPr>
        <p:spPr>
          <a:xfrm>
            <a:off x="436561" y="2157287"/>
            <a:ext cx="2996067" cy="2291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b="1" dirty="0">
                <a:solidFill>
                  <a:schemeClr val="tx2"/>
                </a:solidFill>
                <a:latin typeface="ACHS Nueva Serif" pitchFamily="2" charset="77"/>
              </a:rPr>
              <a:t>PÚBLICO OBJETIVO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5C484DB8-F448-6F49-9046-3AE562916D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6542537" y="1810565"/>
            <a:ext cx="5515143" cy="518423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57450619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xmlns="" id="{AFC9763F-C0E6-5844-ACA6-4F666888788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65125" y="2111853"/>
            <a:ext cx="6866284" cy="2892211"/>
          </a:xfrm>
        </p:spPr>
        <p:txBody>
          <a:bodyPr>
            <a:normAutofit/>
          </a:bodyPr>
          <a:lstStyle/>
          <a:p>
            <a:r>
              <a:rPr lang="es-CL" sz="3200" dirty="0">
                <a:latin typeface="ACHS Nueva Sans Medium" pitchFamily="2" charset="77"/>
              </a:rPr>
              <a:t>¿Sabías que utilizar máquinas sin el conocimiento necesario es una de las principales causas de accidentes graves y fatales?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BC0D33F1-EC87-0445-A4C3-A8801D5B7627}"/>
              </a:ext>
            </a:extLst>
          </p:cNvPr>
          <p:cNvSpPr txBox="1">
            <a:spLocks/>
          </p:cNvSpPr>
          <p:nvPr/>
        </p:nvSpPr>
        <p:spPr>
          <a:xfrm>
            <a:off x="3865125" y="4188414"/>
            <a:ext cx="6866284" cy="1055565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>
                <a:solidFill>
                  <a:schemeClr val="accent2"/>
                </a:solidFill>
                <a:latin typeface="ACHS Nueva Sans Medium" pitchFamily="2" charset="77"/>
              </a:rPr>
              <a:t>Los trabajadores deben conocer en profundidad los equipos con los que trabajan y los peligros que ellos involucran antes, durante y después de su operación.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CCFB3358-EDFE-AC41-A2BA-5F0EEF589F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4211" y="1823986"/>
            <a:ext cx="2065865" cy="289221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9402628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De la </a:t>
            </a:r>
            <a:r>
              <a:rPr lang="es-CL" b="1" dirty="0">
                <a:latin typeface="ACHS Nueva Serif" pitchFamily="2" charset="77"/>
              </a:rPr>
              <a:t>“Grúa Horquilla Reach”</a:t>
            </a:r>
            <a:r>
              <a:rPr lang="es-CL" dirty="0">
                <a:latin typeface="ACHS Nueva Serif" pitchFamily="2" charset="77"/>
              </a:rPr>
              <a:t> debes saber al menos que: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2607446" cy="413019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Se puede operar sentado en la cabina.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Se pueden realizar movimientos de desplazamiento horizontal y carga o descarga en altura.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Para su desplazamiento cuenta con un motor eléctrico que permite su autopropulsión.</a:t>
            </a:r>
          </a:p>
          <a:p>
            <a:pPr lvl="0">
              <a:lnSpc>
                <a:spcPct val="100000"/>
              </a:lnSpc>
            </a:pP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DF3BB5F0-5BE2-D24F-98AD-1A1FCE2C0C5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00" t="5926" r="3879" b="10480"/>
          <a:stretch/>
        </p:blipFill>
        <p:spPr>
          <a:xfrm>
            <a:off x="5345723" y="1160585"/>
            <a:ext cx="5556740" cy="545706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1500533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Si eres operador, estas tareas debes hacer:</a:t>
            </a:r>
          </a:p>
        </p:txBody>
      </p:sp>
      <p:cxnSp>
        <p:nvCxnSpPr>
          <p:cNvPr id="6" name="Straight Connector 33">
            <a:extLst>
              <a:ext uri="{FF2B5EF4-FFF2-40B4-BE49-F238E27FC236}">
                <a16:creationId xmlns:a16="http://schemas.microsoft.com/office/drawing/2014/main" xmlns="" id="{369613DE-CA00-184B-BAC0-F366D183035C}"/>
              </a:ext>
            </a:extLst>
          </p:cNvPr>
          <p:cNvCxnSpPr>
            <a:cxnSpLocks/>
            <a:stCxn id="18" idx="6"/>
            <a:endCxn id="20" idx="2"/>
          </p:cNvCxnSpPr>
          <p:nvPr/>
        </p:nvCxnSpPr>
        <p:spPr>
          <a:xfrm flipV="1">
            <a:off x="5670272" y="2807945"/>
            <a:ext cx="1396587" cy="103166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34">
            <a:extLst>
              <a:ext uri="{FF2B5EF4-FFF2-40B4-BE49-F238E27FC236}">
                <a16:creationId xmlns:a16="http://schemas.microsoft.com/office/drawing/2014/main" xmlns="" id="{4F768295-65E3-E041-B241-18BDA0BCE756}"/>
              </a:ext>
            </a:extLst>
          </p:cNvPr>
          <p:cNvCxnSpPr>
            <a:cxnSpLocks/>
            <a:stCxn id="22" idx="2"/>
            <a:endCxn id="20" idx="6"/>
          </p:cNvCxnSpPr>
          <p:nvPr/>
        </p:nvCxnSpPr>
        <p:spPr>
          <a:xfrm flipH="1" flipV="1">
            <a:off x="7655185" y="2807945"/>
            <a:ext cx="1386710" cy="103166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35">
            <a:extLst>
              <a:ext uri="{FF2B5EF4-FFF2-40B4-BE49-F238E27FC236}">
                <a16:creationId xmlns:a16="http://schemas.microsoft.com/office/drawing/2014/main" xmlns="" id="{C869AB8E-A734-FF4C-A6E7-628569ACCEC9}"/>
              </a:ext>
            </a:extLst>
          </p:cNvPr>
          <p:cNvCxnSpPr>
            <a:cxnSpLocks/>
            <a:stCxn id="22" idx="6"/>
            <a:endCxn id="29" idx="2"/>
          </p:cNvCxnSpPr>
          <p:nvPr/>
        </p:nvCxnSpPr>
        <p:spPr>
          <a:xfrm flipV="1">
            <a:off x="9630222" y="2807945"/>
            <a:ext cx="1282310" cy="103166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36">
            <a:extLst>
              <a:ext uri="{FF2B5EF4-FFF2-40B4-BE49-F238E27FC236}">
                <a16:creationId xmlns:a16="http://schemas.microsoft.com/office/drawing/2014/main" xmlns="" id="{CD6B9140-74ED-3442-BFD6-EA6BF14C1F8A}"/>
              </a:ext>
            </a:extLst>
          </p:cNvPr>
          <p:cNvCxnSpPr>
            <a:cxnSpLocks/>
            <a:stCxn id="18" idx="2"/>
            <a:endCxn id="17" idx="3"/>
          </p:cNvCxnSpPr>
          <p:nvPr/>
        </p:nvCxnSpPr>
        <p:spPr>
          <a:xfrm flipH="1" flipV="1">
            <a:off x="3523727" y="2786744"/>
            <a:ext cx="1558217" cy="105286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37">
            <a:extLst>
              <a:ext uri="{FF2B5EF4-FFF2-40B4-BE49-F238E27FC236}">
                <a16:creationId xmlns:a16="http://schemas.microsoft.com/office/drawing/2014/main" xmlns="" id="{0F24823B-10ED-B44D-AC56-DB2B99A5536F}"/>
              </a:ext>
            </a:extLst>
          </p:cNvPr>
          <p:cNvCxnSpPr>
            <a:cxnSpLocks/>
            <a:stCxn id="13" idx="6"/>
          </p:cNvCxnSpPr>
          <p:nvPr/>
        </p:nvCxnSpPr>
        <p:spPr>
          <a:xfrm flipV="1">
            <a:off x="1601400" y="2755280"/>
            <a:ext cx="1608069" cy="1087892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38">
            <a:extLst>
              <a:ext uri="{FF2B5EF4-FFF2-40B4-BE49-F238E27FC236}">
                <a16:creationId xmlns:a16="http://schemas.microsoft.com/office/drawing/2014/main" xmlns="" id="{B964A9B0-543C-9646-BAD3-51436D25A669}"/>
              </a:ext>
            </a:extLst>
          </p:cNvPr>
          <p:cNvSpPr/>
          <p:nvPr/>
        </p:nvSpPr>
        <p:spPr>
          <a:xfrm>
            <a:off x="1013073" y="3549008"/>
            <a:ext cx="588327" cy="588327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39">
            <a:extLst>
              <a:ext uri="{FF2B5EF4-FFF2-40B4-BE49-F238E27FC236}">
                <a16:creationId xmlns:a16="http://schemas.microsoft.com/office/drawing/2014/main" xmlns="" id="{FC5FEC1F-7826-BF42-9593-6753ECE9FFF3}"/>
              </a:ext>
            </a:extLst>
          </p:cNvPr>
          <p:cNvSpPr txBox="1"/>
          <p:nvPr/>
        </p:nvSpPr>
        <p:spPr>
          <a:xfrm>
            <a:off x="1105485" y="3567595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6" name="Oval 40">
            <a:extLst>
              <a:ext uri="{FF2B5EF4-FFF2-40B4-BE49-F238E27FC236}">
                <a16:creationId xmlns:a16="http://schemas.microsoft.com/office/drawing/2014/main" xmlns="" id="{73A6B248-D4A1-ED41-A75D-E53569B8E4CF}"/>
              </a:ext>
            </a:extLst>
          </p:cNvPr>
          <p:cNvSpPr/>
          <p:nvPr/>
        </p:nvSpPr>
        <p:spPr>
          <a:xfrm>
            <a:off x="3037962" y="2503958"/>
            <a:ext cx="588327" cy="58832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41">
            <a:extLst>
              <a:ext uri="{FF2B5EF4-FFF2-40B4-BE49-F238E27FC236}">
                <a16:creationId xmlns:a16="http://schemas.microsoft.com/office/drawing/2014/main" xmlns="" id="{F5760B11-032C-DA48-9988-4CC80B3F5A19}"/>
              </a:ext>
            </a:extLst>
          </p:cNvPr>
          <p:cNvSpPr txBox="1"/>
          <p:nvPr/>
        </p:nvSpPr>
        <p:spPr>
          <a:xfrm>
            <a:off x="3140524" y="2509817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8" name="Oval 42">
            <a:extLst>
              <a:ext uri="{FF2B5EF4-FFF2-40B4-BE49-F238E27FC236}">
                <a16:creationId xmlns:a16="http://schemas.microsoft.com/office/drawing/2014/main" xmlns="" id="{C8CC0D71-A9D3-D24F-9B06-71E865485873}"/>
              </a:ext>
            </a:extLst>
          </p:cNvPr>
          <p:cNvSpPr/>
          <p:nvPr/>
        </p:nvSpPr>
        <p:spPr>
          <a:xfrm>
            <a:off x="5081944" y="3545441"/>
            <a:ext cx="588327" cy="588327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43">
            <a:extLst>
              <a:ext uri="{FF2B5EF4-FFF2-40B4-BE49-F238E27FC236}">
                <a16:creationId xmlns:a16="http://schemas.microsoft.com/office/drawing/2014/main" xmlns="" id="{62CE0B4C-E187-0946-BB6E-437FE7B86CC3}"/>
              </a:ext>
            </a:extLst>
          </p:cNvPr>
          <p:cNvSpPr txBox="1"/>
          <p:nvPr/>
        </p:nvSpPr>
        <p:spPr>
          <a:xfrm>
            <a:off x="5184506" y="3549008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0" name="Oval 44">
            <a:extLst>
              <a:ext uri="{FF2B5EF4-FFF2-40B4-BE49-F238E27FC236}">
                <a16:creationId xmlns:a16="http://schemas.microsoft.com/office/drawing/2014/main" xmlns="" id="{1C1742F8-3A62-6542-BFCB-1C5FF33C2C98}"/>
              </a:ext>
            </a:extLst>
          </p:cNvPr>
          <p:cNvSpPr/>
          <p:nvPr/>
        </p:nvSpPr>
        <p:spPr>
          <a:xfrm>
            <a:off x="7066858" y="2513781"/>
            <a:ext cx="588327" cy="58832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45">
            <a:extLst>
              <a:ext uri="{FF2B5EF4-FFF2-40B4-BE49-F238E27FC236}">
                <a16:creationId xmlns:a16="http://schemas.microsoft.com/office/drawing/2014/main" xmlns="" id="{E01FF8E9-DE13-0D47-8959-2A40901C1A3B}"/>
              </a:ext>
            </a:extLst>
          </p:cNvPr>
          <p:cNvSpPr txBox="1"/>
          <p:nvPr/>
        </p:nvSpPr>
        <p:spPr>
          <a:xfrm>
            <a:off x="7152582" y="2506922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2" name="Oval 46">
            <a:extLst>
              <a:ext uri="{FF2B5EF4-FFF2-40B4-BE49-F238E27FC236}">
                <a16:creationId xmlns:a16="http://schemas.microsoft.com/office/drawing/2014/main" xmlns="" id="{6AD003AC-860A-DA42-BC40-3B74C5DF194C}"/>
              </a:ext>
            </a:extLst>
          </p:cNvPr>
          <p:cNvSpPr/>
          <p:nvPr/>
        </p:nvSpPr>
        <p:spPr>
          <a:xfrm>
            <a:off x="9041895" y="3545441"/>
            <a:ext cx="588327" cy="588327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47">
            <a:extLst>
              <a:ext uri="{FF2B5EF4-FFF2-40B4-BE49-F238E27FC236}">
                <a16:creationId xmlns:a16="http://schemas.microsoft.com/office/drawing/2014/main" xmlns="" id="{707D11E9-8B4A-2E43-AFA7-551D55D12617}"/>
              </a:ext>
            </a:extLst>
          </p:cNvPr>
          <p:cNvSpPr txBox="1"/>
          <p:nvPr/>
        </p:nvSpPr>
        <p:spPr>
          <a:xfrm>
            <a:off x="9144457" y="3549008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4" name="TextBox 49">
            <a:extLst>
              <a:ext uri="{FF2B5EF4-FFF2-40B4-BE49-F238E27FC236}">
                <a16:creationId xmlns:a16="http://schemas.microsoft.com/office/drawing/2014/main" xmlns="" id="{B1F8BAAC-38D0-454B-BFF0-7FB2D02D4564}"/>
              </a:ext>
            </a:extLst>
          </p:cNvPr>
          <p:cNvSpPr txBox="1"/>
          <p:nvPr/>
        </p:nvSpPr>
        <p:spPr>
          <a:xfrm>
            <a:off x="8019046" y="4275721"/>
            <a:ext cx="2634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s-ES" sz="1600" dirty="0">
                <a:latin typeface="ACHS Nueva Sans Medium" pitchFamily="2" charset="77"/>
                <a:cs typeface="Arial" pitchFamily="34" charset="0"/>
              </a:rPr>
              <a:t>Manipulación y proceso de carga de batería</a:t>
            </a:r>
            <a:endParaRPr lang="es-CL" sz="1600" dirty="0">
              <a:latin typeface="ACHS Nueva Sans Medium" pitchFamily="2" charset="77"/>
              <a:cs typeface="Arial" pitchFamily="34" charset="0"/>
            </a:endParaRPr>
          </a:p>
        </p:txBody>
      </p:sp>
      <p:sp>
        <p:nvSpPr>
          <p:cNvPr id="25" name="TextBox 50">
            <a:extLst>
              <a:ext uri="{FF2B5EF4-FFF2-40B4-BE49-F238E27FC236}">
                <a16:creationId xmlns:a16="http://schemas.microsoft.com/office/drawing/2014/main" xmlns="" id="{7693951D-2FA1-684F-916B-0A74C5D9B8DF}"/>
              </a:ext>
            </a:extLst>
          </p:cNvPr>
          <p:cNvSpPr txBox="1"/>
          <p:nvPr/>
        </p:nvSpPr>
        <p:spPr>
          <a:xfrm>
            <a:off x="2111061" y="1745949"/>
            <a:ext cx="24421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S" sz="1600" dirty="0">
                <a:latin typeface="ACHS Nueva Sans Medium" pitchFamily="2" charset="77"/>
                <a:cs typeface="Arial" pitchFamily="34" charset="0"/>
              </a:rPr>
              <a:t>Desplazamiento y transporte horizontal</a:t>
            </a:r>
            <a:endParaRPr lang="es-CL" sz="1600" dirty="0">
              <a:latin typeface="ACHS Nueva Sans Medium" pitchFamily="2" charset="77"/>
              <a:cs typeface="Arial" pitchFamily="34" charset="0"/>
            </a:endParaRPr>
          </a:p>
        </p:txBody>
      </p:sp>
      <p:sp>
        <p:nvSpPr>
          <p:cNvPr id="26" name="TextBox 51">
            <a:extLst>
              <a:ext uri="{FF2B5EF4-FFF2-40B4-BE49-F238E27FC236}">
                <a16:creationId xmlns:a16="http://schemas.microsoft.com/office/drawing/2014/main" xmlns="" id="{ACF39572-10F7-3343-B749-6E75694990F1}"/>
              </a:ext>
            </a:extLst>
          </p:cNvPr>
          <p:cNvSpPr txBox="1"/>
          <p:nvPr/>
        </p:nvSpPr>
        <p:spPr>
          <a:xfrm>
            <a:off x="443461" y="4312758"/>
            <a:ext cx="17275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S" sz="1600" dirty="0">
                <a:latin typeface="ACHS Nueva Sans Medium" pitchFamily="2" charset="77"/>
                <a:cs typeface="Arial" pitchFamily="34" charset="0"/>
              </a:rPr>
              <a:t>Revisión y prueba diaria</a:t>
            </a:r>
            <a:endParaRPr lang="es-CL" sz="1600" dirty="0">
              <a:latin typeface="ACHS Nueva Sans Medium" pitchFamily="2" charset="77"/>
              <a:cs typeface="Arial" pitchFamily="34" charset="0"/>
            </a:endParaRPr>
          </a:p>
        </p:txBody>
      </p:sp>
      <p:sp>
        <p:nvSpPr>
          <p:cNvPr id="27" name="TextBox 52">
            <a:extLst>
              <a:ext uri="{FF2B5EF4-FFF2-40B4-BE49-F238E27FC236}">
                <a16:creationId xmlns:a16="http://schemas.microsoft.com/office/drawing/2014/main" xmlns="" id="{10CBAAB4-CF4C-6944-ACD4-F9D37988006A}"/>
              </a:ext>
            </a:extLst>
          </p:cNvPr>
          <p:cNvSpPr txBox="1"/>
          <p:nvPr/>
        </p:nvSpPr>
        <p:spPr>
          <a:xfrm>
            <a:off x="4435039" y="4307690"/>
            <a:ext cx="22653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S" sz="1600" dirty="0">
                <a:latin typeface="ACHS Nueva Sans Medium" pitchFamily="2" charset="77"/>
                <a:cs typeface="Arial" pitchFamily="34" charset="0"/>
              </a:rPr>
              <a:t>Operación en altura y transporte vertical </a:t>
            </a:r>
            <a:endParaRPr lang="es-CL" sz="1600" dirty="0">
              <a:latin typeface="ACHS Nueva Sans Medium" pitchFamily="2" charset="77"/>
              <a:cs typeface="Arial" pitchFamily="34" charset="0"/>
            </a:endParaRPr>
          </a:p>
        </p:txBody>
      </p:sp>
      <p:sp>
        <p:nvSpPr>
          <p:cNvPr id="28" name="TextBox 53">
            <a:extLst>
              <a:ext uri="{FF2B5EF4-FFF2-40B4-BE49-F238E27FC236}">
                <a16:creationId xmlns:a16="http://schemas.microsoft.com/office/drawing/2014/main" xmlns="" id="{8E3165C2-40AB-4942-8634-9F02D59EE9F7}"/>
              </a:ext>
            </a:extLst>
          </p:cNvPr>
          <p:cNvSpPr txBox="1"/>
          <p:nvPr/>
        </p:nvSpPr>
        <p:spPr>
          <a:xfrm>
            <a:off x="6410439" y="1844724"/>
            <a:ext cx="1867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CL" sz="1600" dirty="0">
                <a:latin typeface="ACHS Nueva Sans Medium" pitchFamily="2" charset="77"/>
                <a:cs typeface="Arial" pitchFamily="34" charset="0"/>
              </a:rPr>
              <a:t>Estacionamiento</a:t>
            </a:r>
          </a:p>
        </p:txBody>
      </p:sp>
      <p:sp>
        <p:nvSpPr>
          <p:cNvPr id="29" name="Oval 55">
            <a:extLst>
              <a:ext uri="{FF2B5EF4-FFF2-40B4-BE49-F238E27FC236}">
                <a16:creationId xmlns:a16="http://schemas.microsoft.com/office/drawing/2014/main" xmlns="" id="{80DBE48E-1338-1A40-A598-84C84953D560}"/>
              </a:ext>
            </a:extLst>
          </p:cNvPr>
          <p:cNvSpPr/>
          <p:nvPr/>
        </p:nvSpPr>
        <p:spPr>
          <a:xfrm>
            <a:off x="10912532" y="2513781"/>
            <a:ext cx="588327" cy="58832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56">
            <a:extLst>
              <a:ext uri="{FF2B5EF4-FFF2-40B4-BE49-F238E27FC236}">
                <a16:creationId xmlns:a16="http://schemas.microsoft.com/office/drawing/2014/main" xmlns="" id="{7625983F-BEE9-F54E-8E3A-136D25F76BCA}"/>
              </a:ext>
            </a:extLst>
          </p:cNvPr>
          <p:cNvSpPr txBox="1"/>
          <p:nvPr/>
        </p:nvSpPr>
        <p:spPr>
          <a:xfrm>
            <a:off x="11015094" y="2502751"/>
            <a:ext cx="383203" cy="5538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2999" b="1" dirty="0">
                <a:solidFill>
                  <a:prstClr val="white"/>
                </a:solidFill>
                <a:latin typeface="ACHS Nueva Sans Medium" pitchFamily="2" charset="77"/>
                <a:cs typeface="Arial" panose="020B0604020202020204" pitchFamily="34" charset="0"/>
              </a:rPr>
              <a:t>6</a:t>
            </a:r>
          </a:p>
        </p:txBody>
      </p:sp>
      <p:sp>
        <p:nvSpPr>
          <p:cNvPr id="31" name="TextBox 61">
            <a:extLst>
              <a:ext uri="{FF2B5EF4-FFF2-40B4-BE49-F238E27FC236}">
                <a16:creationId xmlns:a16="http://schemas.microsoft.com/office/drawing/2014/main" xmlns="" id="{A8B510AF-ED40-6A41-9A49-9A7FBEF9D5F8}"/>
              </a:ext>
            </a:extLst>
          </p:cNvPr>
          <p:cNvSpPr txBox="1"/>
          <p:nvPr/>
        </p:nvSpPr>
        <p:spPr>
          <a:xfrm>
            <a:off x="10483970" y="1893999"/>
            <a:ext cx="14454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s-CL" sz="1600" dirty="0">
                <a:latin typeface="ACHS Nueva Sans Medium" pitchFamily="2" charset="77"/>
                <a:cs typeface="Arial" pitchFamily="34" charset="0"/>
              </a:rPr>
              <a:t>Mantención</a:t>
            </a:r>
            <a:endParaRPr lang="es-CL" sz="1600" b="1" dirty="0"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xmlns="" id="{AAC9ED92-88BA-9D48-9EE5-C279D70E0BED}"/>
              </a:ext>
            </a:extLst>
          </p:cNvPr>
          <p:cNvSpPr/>
          <p:nvPr/>
        </p:nvSpPr>
        <p:spPr>
          <a:xfrm>
            <a:off x="0" y="5360276"/>
            <a:ext cx="6096000" cy="1497724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</a:rPr>
              <a:t>En cada tarea estás expuesto a incidentes</a:t>
            </a:r>
            <a:endParaRPr kumimoji="0" lang="es-CL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HS Nueva Sans Medium" pitchFamily="2" charset="77"/>
            </a:endParaRP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xmlns="" id="{4D33F76C-766D-154D-A67A-4162261CDD9D}"/>
              </a:ext>
            </a:extLst>
          </p:cNvPr>
          <p:cNvSpPr/>
          <p:nvPr/>
        </p:nvSpPr>
        <p:spPr>
          <a:xfrm>
            <a:off x="5990897" y="5360276"/>
            <a:ext cx="6223898" cy="1497724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HS Nueva Sans Medium" pitchFamily="2" charset="77"/>
              </a:rPr>
              <a:t>Por lo que sigue las siguientes recomendaciones</a:t>
            </a:r>
            <a:endParaRPr kumimoji="0" lang="es-CL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CHS Nueva Sans Medium" pitchFamily="2" charset="77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648393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5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250"/>
                            </p:stCondLst>
                            <p:childTnLst>
                              <p:par>
                                <p:cTn id="3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000"/>
                            </p:stCondLst>
                            <p:childTnLst>
                              <p:par>
                                <p:cTn id="5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0"/>
                            </p:stCondLst>
                            <p:childTnLst>
                              <p:par>
                                <p:cTn id="6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6250"/>
                            </p:stCondLst>
                            <p:childTnLst>
                              <p:par>
                                <p:cTn id="8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7250"/>
                            </p:stCondLst>
                            <p:childTnLst>
                              <p:par>
                                <p:cTn id="10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1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1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1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1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6" grpId="0" animBg="1"/>
      <p:bldP spid="17" grpId="0"/>
      <p:bldP spid="18" grpId="0" animBg="1"/>
      <p:bldP spid="19" grpId="0"/>
      <p:bldP spid="20" grpId="0" animBg="1"/>
      <p:bldP spid="21" grpId="0"/>
      <p:bldP spid="22" grpId="0" animBg="1"/>
      <p:bldP spid="23" grpId="0"/>
      <p:bldP spid="24" grpId="0"/>
      <p:bldP spid="25" grpId="0"/>
      <p:bldP spid="26" grpId="0"/>
      <p:bldP spid="27" grpId="0"/>
      <p:bldP spid="28" grpId="0"/>
      <p:bldP spid="29" grpId="0" animBg="1"/>
      <p:bldP spid="30" grpId="0"/>
      <p:bldP spid="31" grpId="0"/>
      <p:bldP spid="32" grpId="0" animBg="1"/>
      <p:bldP spid="3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Al ejecutar cualquiera de los pasos, ten principal cuidado con: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2607446" cy="413019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l movimiento de las horquillas al subir y bajar cargas o durante su desplazamiento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La carga en altura con posibilidad de caer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l mal estado de ruedas de tracción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No contar con espejo retrovisor.</a:t>
            </a:r>
          </a:p>
          <a:p>
            <a:pPr marL="28575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809B6A48-CE38-044D-814E-F2C357768B2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28" r="18233"/>
          <a:stretch/>
        </p:blipFill>
        <p:spPr>
          <a:xfrm>
            <a:off x="5734573" y="1280759"/>
            <a:ext cx="5167890" cy="545706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23882750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Al ejecutar cualquiera de los pasos, ten principal cuidado con: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2607446" cy="413019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l desplazamiento del equipo en presencia de peatones.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Las partes del equipo energizadas o cables y conectores de batería en mal estado.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La filtración de electrolito de batería o fluido hidráulico.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dirty="0">
                <a:solidFill>
                  <a:schemeClr val="tx1"/>
                </a:solidFill>
                <a:effectLst/>
                <a:latin typeface="ACHS Nueva Sans Medium" pitchFamily="2" charset="77"/>
              </a:rPr>
              <a:t>Equipo en mal estado o con fallas en los comandos.</a:t>
            </a:r>
          </a:p>
          <a:p>
            <a:pPr marL="285750" lvl="0" indent="-285750">
              <a:lnSpc>
                <a:spcPct val="100000"/>
              </a:lnSpc>
              <a:buClr>
                <a:schemeClr val="accent1"/>
              </a:buClr>
              <a:buFont typeface="Wingdings" pitchFamily="2" charset="2"/>
              <a:buChar char="§"/>
            </a:pPr>
            <a:endParaRPr lang="es-ES" dirty="0">
              <a:solidFill>
                <a:schemeClr val="tx1"/>
              </a:solidFill>
              <a:effectLst/>
              <a:latin typeface="ACHS Nueva Sans Medium" pitchFamily="2" charset="77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809B6A48-CE38-044D-814E-F2C357768B2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28" r="18233"/>
          <a:stretch/>
        </p:blipFill>
        <p:spPr>
          <a:xfrm>
            <a:off x="5734573" y="1280759"/>
            <a:ext cx="5167890" cy="545706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3720950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  <p:tag name="ARTICULATE_PROJECT_OPEN" val="0"/>
  <p:tag name="ARTICULATE_DESIGN_ID_TEMA DE OFFICE" val="6WX6I0Id"/>
  <p:tag name="ARTICULATE_SLIDE_COUNT" val="2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Portadas y cierres_Achs Seguro Laboral">
  <a:themeElements>
    <a:clrScheme name="Seguro Laboral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27933E"/>
      </a:accent4>
      <a:accent5>
        <a:srgbClr val="81D877"/>
      </a:accent5>
      <a:accent6>
        <a:srgbClr val="27933E"/>
      </a:accent6>
      <a:hlink>
        <a:srgbClr val="13C045"/>
      </a:hlink>
      <a:folHlink>
        <a:srgbClr val="004C14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61E39816-3407-408A-AC92-130ABF74CC5D}"/>
</file>

<file path=customXml/itemProps2.xml><?xml version="1.0" encoding="utf-8"?>
<ds:datastoreItem xmlns:ds="http://schemas.openxmlformats.org/officeDocument/2006/customXml" ds:itemID="{3500BA7C-02CA-4F7F-A7ED-05C1936DB4A4}"/>
</file>

<file path=customXml/itemProps3.xml><?xml version="1.0" encoding="utf-8"?>
<ds:datastoreItem xmlns:ds="http://schemas.openxmlformats.org/officeDocument/2006/customXml" ds:itemID="{943E3AFB-DE15-4094-B311-1E5E22027D41}"/>
</file>

<file path=docProps/app.xml><?xml version="1.0" encoding="utf-8"?>
<Properties xmlns="http://schemas.openxmlformats.org/officeDocument/2006/extended-properties" xmlns:vt="http://schemas.openxmlformats.org/officeDocument/2006/docPropsVTypes">
  <TotalTime>2401</TotalTime>
  <Words>1597</Words>
  <Application>Microsoft Office PowerPoint</Application>
  <PresentationFormat>Panorámica</PresentationFormat>
  <Paragraphs>198</Paragraphs>
  <Slides>27</Slides>
  <Notes>21</Notes>
  <HiddenSlides>0</HiddenSlides>
  <MMClips>0</MMClips>
  <ScaleCrop>false</ScaleCrop>
  <HeadingPairs>
    <vt:vector size="8" baseType="variant">
      <vt:variant>
        <vt:lpstr>Fuentes usadas</vt:lpstr>
      </vt:variant>
      <vt:variant>
        <vt:i4>11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7</vt:i4>
      </vt:variant>
    </vt:vector>
  </HeadingPairs>
  <TitlesOfParts>
    <vt:vector size="42" baseType="lpstr">
      <vt:lpstr>ＭＳ Ｐゴシック</vt:lpstr>
      <vt:lpstr>ACHS Nueva Sans</vt:lpstr>
      <vt:lpstr>ACHS Nueva Sans Medium</vt:lpstr>
      <vt:lpstr>ACHS Nueva Sans SemiBold</vt:lpstr>
      <vt:lpstr>ACHS Nueva Serif</vt:lpstr>
      <vt:lpstr>Arial</vt:lpstr>
      <vt:lpstr>Calibri</vt:lpstr>
      <vt:lpstr>Calibri Light</vt:lpstr>
      <vt:lpstr>Helvetica Neue Medium</vt:lpstr>
      <vt:lpstr>Tw Cen MT</vt:lpstr>
      <vt:lpstr>Wingdings</vt:lpstr>
      <vt:lpstr>Tema de Office</vt:lpstr>
      <vt:lpstr>2_Tema de Office</vt:lpstr>
      <vt:lpstr>Portadas y cierres_Achs Seguro Laboral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ATRICIO ALEJANDRO VALDÉS SAAVEDRA</dc:creator>
  <cp:lastModifiedBy>Saldaño Carreño, Carlos Antonio</cp:lastModifiedBy>
  <cp:revision>430</cp:revision>
  <dcterms:created xsi:type="dcterms:W3CDTF">2023-07-11T20:17:04Z</dcterms:created>
  <dcterms:modified xsi:type="dcterms:W3CDTF">2025-02-23T04:3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F9F8E13F-C29E-496A-92D9-5C04D463F92C</vt:lpwstr>
  </property>
  <property fmtid="{D5CDD505-2E9C-101B-9397-08002B2CF9AE}" pid="3" name="ArticulatePath">
    <vt:lpwstr>659687 SEGURIDAD EN EL MOVIMIENTO DE CARGA - GRUA REACH -RB2023 </vt:lpwstr>
  </property>
  <property fmtid="{D5CDD505-2E9C-101B-9397-08002B2CF9AE}" pid="4" name="ContentTypeId">
    <vt:lpwstr>0x0101007C36543F3D857D488921B9E8F0F0A212</vt:lpwstr>
  </property>
</Properties>
</file>